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7"/>
  </p:notesMasterIdLst>
  <p:handoutMasterIdLst>
    <p:handoutMasterId r:id="rId8"/>
  </p:handoutMasterIdLst>
  <p:sldIdLst>
    <p:sldId id="265" r:id="rId5"/>
    <p:sldId id="263" r:id="rId6"/>
  </p:sldIdLst>
  <p:sldSz cx="43891200" cy="21945600"/>
  <p:notesSz cx="39600188" cy="39600188"/>
  <p:custDataLst>
    <p:tags r:id="rId9"/>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A4BC02-4698-E269-FE27-70555CE5370C}" name="Hsueh-Ning Chao" initials="HC" userId="I32u27yO7tdajtqyP71sKDiQulIz6ic0z1xl0wdhUYk=" providerId="None"/>
  <p188:author id="{DEEDB133-D4D8-D7EF-3D50-30E71A8FED70}" name="Tanvir Ahmed Farook" initials="TF" userId="TCYBb3uSJ+bdHYXHvL8inqj6VAMXLD9G89AUjqTPq2w=" providerId="None"/>
  <p188:author id="{3D67FBD4-CBB0-5666-18B3-85149BC43887}" name="Ananth Mohan" initials="AM" userId="0+ntHPCRoNBLvPdhBUzfljBEc8fje1ZhpS6eiRuEUe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BD97"/>
    <a:srgbClr val="CFB991"/>
    <a:srgbClr val="B1810B"/>
    <a:srgbClr val="DDC69A"/>
    <a:srgbClr val="035FA0"/>
    <a:srgbClr val="D23A43"/>
    <a:srgbClr val="10253F"/>
    <a:srgbClr val="DEC699"/>
    <a:srgbClr val="1F497D"/>
    <a:srgbClr val="1318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8CAACE-4D71-4B4F-94AD-8EEA6A76B4DC}" v="47" dt="2025-04-11T01:19:08.0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92"/>
    <p:restoredTop sz="96638" autoAdjust="0"/>
  </p:normalViewPr>
  <p:slideViewPr>
    <p:cSldViewPr snapToGrid="0">
      <p:cViewPr>
        <p:scale>
          <a:sx n="50" d="100"/>
          <a:sy n="50" d="100"/>
        </p:scale>
        <p:origin x="941" y="984"/>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nth Mohan" userId="0+ntHPCRoNBLvPdhBUzfljBEc8fje1ZhpS6eiRuEUeE=" providerId="None" clId="Web-{E9159C55-B795-4E7D-A006-BD39668F21F8}"/>
    <pc:docChg chg="modSld">
      <pc:chgData name="Ananth Mohan" userId="0+ntHPCRoNBLvPdhBUzfljBEc8fje1ZhpS6eiRuEUeE=" providerId="None" clId="Web-{E9159C55-B795-4E7D-A006-BD39668F21F8}" dt="2025-03-06T21:14:26.551" v="265" actId="20577"/>
      <pc:docMkLst>
        <pc:docMk/>
      </pc:docMkLst>
      <pc:sldChg chg="addSp delSp modSp modCm">
        <pc:chgData name="Ananth Mohan" userId="0+ntHPCRoNBLvPdhBUzfljBEc8fje1ZhpS6eiRuEUeE=" providerId="None" clId="Web-{E9159C55-B795-4E7D-A006-BD39668F21F8}" dt="2025-03-06T21:14:26.551" v="265" actId="20577"/>
        <pc:sldMkLst>
          <pc:docMk/>
          <pc:sldMk cId="810637578" sldId="263"/>
        </pc:sldMkLst>
        <pc:spChg chg="mod">
          <ac:chgData name="Ananth Mohan" userId="0+ntHPCRoNBLvPdhBUzfljBEc8fje1ZhpS6eiRuEUeE=" providerId="None" clId="Web-{E9159C55-B795-4E7D-A006-BD39668F21F8}" dt="2025-03-06T21:08:58.395" v="235" actId="1076"/>
          <ac:spMkLst>
            <pc:docMk/>
            <pc:sldMk cId="810637578" sldId="263"/>
            <ac:spMk id="2" creationId="{88F2FE2B-1AC0-B312-A5E1-1825B6C48F64}"/>
          </ac:spMkLst>
        </pc:spChg>
        <pc:spChg chg="add del">
          <ac:chgData name="Ananth Mohan" userId="0+ntHPCRoNBLvPdhBUzfljBEc8fje1ZhpS6eiRuEUeE=" providerId="None" clId="Web-{E9159C55-B795-4E7D-A006-BD39668F21F8}" dt="2025-03-06T20:46:42.802" v="119"/>
          <ac:spMkLst>
            <pc:docMk/>
            <pc:sldMk cId="810637578" sldId="263"/>
            <ac:spMk id="7" creationId="{05016CA8-8F53-4A82-9BDC-1A59EEA96140}"/>
          </ac:spMkLst>
        </pc:spChg>
        <pc:spChg chg="ord">
          <ac:chgData name="Ananth Mohan" userId="0+ntHPCRoNBLvPdhBUzfljBEc8fje1ZhpS6eiRuEUeE=" providerId="None" clId="Web-{E9159C55-B795-4E7D-A006-BD39668F21F8}" dt="2025-03-06T21:08:46.395" v="224"/>
          <ac:spMkLst>
            <pc:docMk/>
            <pc:sldMk cId="810637578" sldId="263"/>
            <ac:spMk id="8" creationId="{7C64A13A-A6CE-0BCC-E048-7856D21CA329}"/>
          </ac:spMkLst>
        </pc:spChg>
        <pc:spChg chg="mod">
          <ac:chgData name="Ananth Mohan" userId="0+ntHPCRoNBLvPdhBUzfljBEc8fje1ZhpS6eiRuEUeE=" providerId="None" clId="Web-{E9159C55-B795-4E7D-A006-BD39668F21F8}" dt="2025-03-06T21:02:20.971" v="177" actId="1076"/>
          <ac:spMkLst>
            <pc:docMk/>
            <pc:sldMk cId="810637578" sldId="263"/>
            <ac:spMk id="9" creationId="{19AB2F9E-4684-0522-4915-E83244C7D050}"/>
          </ac:spMkLst>
        </pc:spChg>
        <pc:spChg chg="mod">
          <ac:chgData name="Ananth Mohan" userId="0+ntHPCRoNBLvPdhBUzfljBEc8fje1ZhpS6eiRuEUeE=" providerId="None" clId="Web-{E9159C55-B795-4E7D-A006-BD39668F21F8}" dt="2025-03-06T21:08:58.411" v="241" actId="1076"/>
          <ac:spMkLst>
            <pc:docMk/>
            <pc:sldMk cId="810637578" sldId="263"/>
            <ac:spMk id="10" creationId="{E12A2CB5-31B3-B8A1-AC34-E6539E91DD51}"/>
          </ac:spMkLst>
        </pc:spChg>
        <pc:spChg chg="mod">
          <ac:chgData name="Ananth Mohan" userId="0+ntHPCRoNBLvPdhBUzfljBEc8fje1ZhpS6eiRuEUeE=" providerId="None" clId="Web-{E9159C55-B795-4E7D-A006-BD39668F21F8}" dt="2025-03-06T21:08:58.411" v="240" actId="1076"/>
          <ac:spMkLst>
            <pc:docMk/>
            <pc:sldMk cId="810637578" sldId="263"/>
            <ac:spMk id="12" creationId="{C4D7C6B9-9708-E4DB-DA17-00BBDBB95B30}"/>
          </ac:spMkLst>
        </pc:spChg>
        <pc:spChg chg="mod">
          <ac:chgData name="Ananth Mohan" userId="0+ntHPCRoNBLvPdhBUzfljBEc8fje1ZhpS6eiRuEUeE=" providerId="None" clId="Web-{E9159C55-B795-4E7D-A006-BD39668F21F8}" dt="2025-03-06T21:08:58.411" v="239" actId="1076"/>
          <ac:spMkLst>
            <pc:docMk/>
            <pc:sldMk cId="810637578" sldId="263"/>
            <ac:spMk id="13" creationId="{C60A1247-0AC1-E763-5FF5-906DD09F96E5}"/>
          </ac:spMkLst>
        </pc:spChg>
        <pc:spChg chg="mod">
          <ac:chgData name="Ananth Mohan" userId="0+ntHPCRoNBLvPdhBUzfljBEc8fje1ZhpS6eiRuEUeE=" providerId="None" clId="Web-{E9159C55-B795-4E7D-A006-BD39668F21F8}" dt="2025-03-06T20:42:09.211" v="104" actId="1076"/>
          <ac:spMkLst>
            <pc:docMk/>
            <pc:sldMk cId="810637578" sldId="263"/>
            <ac:spMk id="17" creationId="{C9B4D23D-7D0A-5D8B-63F7-3F63C3CE303F}"/>
          </ac:spMkLst>
        </pc:spChg>
        <pc:spChg chg="mod">
          <ac:chgData name="Ananth Mohan" userId="0+ntHPCRoNBLvPdhBUzfljBEc8fje1ZhpS6eiRuEUeE=" providerId="None" clId="Web-{E9159C55-B795-4E7D-A006-BD39668F21F8}" dt="2025-03-06T21:06:33.701" v="209" actId="20577"/>
          <ac:spMkLst>
            <pc:docMk/>
            <pc:sldMk cId="810637578" sldId="263"/>
            <ac:spMk id="18" creationId="{1169DDE9-B93C-CBBF-324B-24B2DEF9B9CB}"/>
          </ac:spMkLst>
        </pc:spChg>
        <pc:spChg chg="mod">
          <ac:chgData name="Ananth Mohan" userId="0+ntHPCRoNBLvPdhBUzfljBEc8fje1ZhpS6eiRuEUeE=" providerId="None" clId="Web-{E9159C55-B795-4E7D-A006-BD39668F21F8}" dt="2025-03-06T21:08:02.580" v="218" actId="1076"/>
          <ac:spMkLst>
            <pc:docMk/>
            <pc:sldMk cId="810637578" sldId="263"/>
            <ac:spMk id="32" creationId="{EAE3474C-EF93-7076-2819-D97501639379}"/>
          </ac:spMkLst>
        </pc:spChg>
        <pc:spChg chg="mod">
          <ac:chgData name="Ananth Mohan" userId="0+ntHPCRoNBLvPdhBUzfljBEc8fje1ZhpS6eiRuEUeE=" providerId="None" clId="Web-{E9159C55-B795-4E7D-A006-BD39668F21F8}" dt="2025-03-06T21:14:26.551" v="265" actId="20577"/>
          <ac:spMkLst>
            <pc:docMk/>
            <pc:sldMk cId="810637578" sldId="263"/>
            <ac:spMk id="35" creationId="{91B69CFA-4206-66AF-2A07-747605122BB8}"/>
          </ac:spMkLst>
        </pc:spChg>
        <pc:spChg chg="mod">
          <ac:chgData name="Ananth Mohan" userId="0+ntHPCRoNBLvPdhBUzfljBEc8fje1ZhpS6eiRuEUeE=" providerId="None" clId="Web-{E9159C55-B795-4E7D-A006-BD39668F21F8}" dt="2025-03-06T20:42:09.430" v="105" actId="1076"/>
          <ac:spMkLst>
            <pc:docMk/>
            <pc:sldMk cId="810637578" sldId="263"/>
            <ac:spMk id="40" creationId="{586908C8-A80F-26A9-5444-7B8EDE5DD7C1}"/>
          </ac:spMkLst>
        </pc:spChg>
        <pc:spChg chg="mod ord">
          <ac:chgData name="Ananth Mohan" userId="0+ntHPCRoNBLvPdhBUzfljBEc8fje1ZhpS6eiRuEUeE=" providerId="None" clId="Web-{E9159C55-B795-4E7D-A006-BD39668F21F8}" dt="2025-03-06T21:08:58.411" v="242" actId="1076"/>
          <ac:spMkLst>
            <pc:docMk/>
            <pc:sldMk cId="810637578" sldId="263"/>
            <ac:spMk id="44" creationId="{F3358298-A61B-585C-693F-B9E05EA84E2B}"/>
          </ac:spMkLst>
        </pc:spChg>
        <pc:spChg chg="mod ord">
          <ac:chgData name="Ananth Mohan" userId="0+ntHPCRoNBLvPdhBUzfljBEc8fje1ZhpS6eiRuEUeE=" providerId="None" clId="Web-{E9159C55-B795-4E7D-A006-BD39668F21F8}" dt="2025-03-06T21:08:44.191" v="219"/>
          <ac:spMkLst>
            <pc:docMk/>
            <pc:sldMk cId="810637578" sldId="263"/>
            <ac:spMk id="46" creationId="{128408B0-2E53-67DC-0B76-B79941F975F2}"/>
          </ac:spMkLst>
        </pc:spChg>
        <pc:spChg chg="mod ord">
          <ac:chgData name="Ananth Mohan" userId="0+ntHPCRoNBLvPdhBUzfljBEc8fje1ZhpS6eiRuEUeE=" providerId="None" clId="Web-{E9159C55-B795-4E7D-A006-BD39668F21F8}" dt="2025-03-06T21:09:28.069" v="243" actId="14100"/>
          <ac:spMkLst>
            <pc:docMk/>
            <pc:sldMk cId="810637578" sldId="263"/>
            <ac:spMk id="47" creationId="{07E0DD1A-7B39-59B9-3A3A-EA3C42D7D74A}"/>
          </ac:spMkLst>
        </pc:spChg>
        <pc:spChg chg="mod">
          <ac:chgData name="Ananth Mohan" userId="0+ntHPCRoNBLvPdhBUzfljBEc8fje1ZhpS6eiRuEUeE=" providerId="None" clId="Web-{E9159C55-B795-4E7D-A006-BD39668F21F8}" dt="2025-03-06T21:05:16.401" v="194" actId="20577"/>
          <ac:spMkLst>
            <pc:docMk/>
            <pc:sldMk cId="810637578" sldId="263"/>
            <ac:spMk id="49" creationId="{607C8AF3-E134-057E-35D7-F14B9338B342}"/>
          </ac:spMkLst>
        </pc:spChg>
        <pc:spChg chg="mod">
          <ac:chgData name="Ananth Mohan" userId="0+ntHPCRoNBLvPdhBUzfljBEc8fje1ZhpS6eiRuEUeE=" providerId="None" clId="Web-{E9159C55-B795-4E7D-A006-BD39668F21F8}" dt="2025-03-06T21:07:32.360" v="215" actId="1076"/>
          <ac:spMkLst>
            <pc:docMk/>
            <pc:sldMk cId="810637578" sldId="263"/>
            <ac:spMk id="50" creationId="{BAC9CA12-09CF-9DCF-28D3-F6E0885417D0}"/>
          </ac:spMkLst>
        </pc:spChg>
        <pc:spChg chg="mod">
          <ac:chgData name="Ananth Mohan" userId="0+ntHPCRoNBLvPdhBUzfljBEc8fje1ZhpS6eiRuEUeE=" providerId="None" clId="Web-{E9159C55-B795-4E7D-A006-BD39668F21F8}" dt="2025-03-06T21:05:41.167" v="197" actId="1076"/>
          <ac:spMkLst>
            <pc:docMk/>
            <pc:sldMk cId="810637578" sldId="263"/>
            <ac:spMk id="51" creationId="{D60EAE86-D34C-9612-FF86-85375F86FD4F}"/>
          </ac:spMkLst>
        </pc:spChg>
        <pc:spChg chg="mod">
          <ac:chgData name="Ananth Mohan" userId="0+ntHPCRoNBLvPdhBUzfljBEc8fje1ZhpS6eiRuEUeE=" providerId="None" clId="Web-{E9159C55-B795-4E7D-A006-BD39668F21F8}" dt="2025-03-06T21:08:58.395" v="236" actId="1076"/>
          <ac:spMkLst>
            <pc:docMk/>
            <pc:sldMk cId="810637578" sldId="263"/>
            <ac:spMk id="52" creationId="{8EEC4C13-5D83-4B2A-C1AF-78E482124E2E}"/>
          </ac:spMkLst>
        </pc:spChg>
        <pc:spChg chg="mod">
          <ac:chgData name="Ananth Mohan" userId="0+ntHPCRoNBLvPdhBUzfljBEc8fje1ZhpS6eiRuEUeE=" providerId="None" clId="Web-{E9159C55-B795-4E7D-A006-BD39668F21F8}" dt="2025-03-06T21:10:02.101" v="250" actId="1076"/>
          <ac:spMkLst>
            <pc:docMk/>
            <pc:sldMk cId="810637578" sldId="263"/>
            <ac:spMk id="54" creationId="{96285D32-63D2-BBC3-B488-C151D1F0FA8F}"/>
          </ac:spMkLst>
        </pc:spChg>
        <pc:spChg chg="mod">
          <ac:chgData name="Ananth Mohan" userId="0+ntHPCRoNBLvPdhBUzfljBEc8fje1ZhpS6eiRuEUeE=" providerId="None" clId="Web-{E9159C55-B795-4E7D-A006-BD39668F21F8}" dt="2025-03-06T21:10:02.336" v="251" actId="1076"/>
          <ac:spMkLst>
            <pc:docMk/>
            <pc:sldMk cId="810637578" sldId="263"/>
            <ac:spMk id="57" creationId="{DA33BF2E-7506-5BF9-24BC-2D7B48DA7F2B}"/>
          </ac:spMkLst>
        </pc:spChg>
        <pc:spChg chg="ord">
          <ac:chgData name="Ananth Mohan" userId="0+ntHPCRoNBLvPdhBUzfljBEc8fje1ZhpS6eiRuEUeE=" providerId="None" clId="Web-{E9159C55-B795-4E7D-A006-BD39668F21F8}" dt="2025-03-06T21:08:50.114" v="226"/>
          <ac:spMkLst>
            <pc:docMk/>
            <pc:sldMk cId="810637578" sldId="263"/>
            <ac:spMk id="59" creationId="{82BA1D31-D667-97C6-E395-BA04F488ED0A}"/>
          </ac:spMkLst>
        </pc:spChg>
        <pc:spChg chg="mod">
          <ac:chgData name="Ananth Mohan" userId="0+ntHPCRoNBLvPdhBUzfljBEc8fje1ZhpS6eiRuEUeE=" providerId="None" clId="Web-{E9159C55-B795-4E7D-A006-BD39668F21F8}" dt="2025-03-06T21:09:40.741" v="244" actId="1076"/>
          <ac:spMkLst>
            <pc:docMk/>
            <pc:sldMk cId="810637578" sldId="263"/>
            <ac:spMk id="60" creationId="{61CC4148-BB21-3F7A-C597-9DC07E32875D}"/>
          </ac:spMkLst>
        </pc:spChg>
        <pc:spChg chg="mod">
          <ac:chgData name="Ananth Mohan" userId="0+ntHPCRoNBLvPdhBUzfljBEc8fje1ZhpS6eiRuEUeE=" providerId="None" clId="Web-{E9159C55-B795-4E7D-A006-BD39668F21F8}" dt="2025-03-06T21:10:02.992" v="254" actId="1076"/>
          <ac:spMkLst>
            <pc:docMk/>
            <pc:sldMk cId="810637578" sldId="263"/>
            <ac:spMk id="62" creationId="{9F4391FC-E34A-9C75-C366-27C595140A9E}"/>
          </ac:spMkLst>
        </pc:spChg>
        <pc:spChg chg="mod">
          <ac:chgData name="Ananth Mohan" userId="0+ntHPCRoNBLvPdhBUzfljBEc8fje1ZhpS6eiRuEUeE=" providerId="None" clId="Web-{E9159C55-B795-4E7D-A006-BD39668F21F8}" dt="2025-03-06T21:10:03.430" v="256" actId="1076"/>
          <ac:spMkLst>
            <pc:docMk/>
            <pc:sldMk cId="810637578" sldId="263"/>
            <ac:spMk id="64" creationId="{D5E1E239-23AD-C382-9F30-A42E6BC0F904}"/>
          </ac:spMkLst>
        </pc:spChg>
        <pc:spChg chg="mod">
          <ac:chgData name="Ananth Mohan" userId="0+ntHPCRoNBLvPdhBUzfljBEc8fje1ZhpS6eiRuEUeE=" providerId="None" clId="Web-{E9159C55-B795-4E7D-A006-BD39668F21F8}" dt="2025-03-06T21:09:40.944" v="245" actId="1076"/>
          <ac:spMkLst>
            <pc:docMk/>
            <pc:sldMk cId="810637578" sldId="263"/>
            <ac:spMk id="66" creationId="{40E89E01-E3E4-9733-0C89-9A0C3565116C}"/>
          </ac:spMkLst>
        </pc:spChg>
        <pc:spChg chg="mod">
          <ac:chgData name="Ananth Mohan" userId="0+ntHPCRoNBLvPdhBUzfljBEc8fje1ZhpS6eiRuEUeE=" providerId="None" clId="Web-{E9159C55-B795-4E7D-A006-BD39668F21F8}" dt="2025-03-06T21:10:03.867" v="258" actId="1076"/>
          <ac:spMkLst>
            <pc:docMk/>
            <pc:sldMk cId="810637578" sldId="263"/>
            <ac:spMk id="67" creationId="{5E5B07BD-E5E4-575D-CAD2-935AC7A56F5B}"/>
          </ac:spMkLst>
        </pc:spChg>
        <pc:spChg chg="mod">
          <ac:chgData name="Ananth Mohan" userId="0+ntHPCRoNBLvPdhBUzfljBEc8fje1ZhpS6eiRuEUeE=" providerId="None" clId="Web-{E9159C55-B795-4E7D-A006-BD39668F21F8}" dt="2025-03-06T21:10:04.101" v="259" actId="1076"/>
          <ac:spMkLst>
            <pc:docMk/>
            <pc:sldMk cId="810637578" sldId="263"/>
            <ac:spMk id="68" creationId="{7D5FEDDA-C278-F1AA-CD8E-5B00104C1BCA}"/>
          </ac:spMkLst>
        </pc:spChg>
        <pc:spChg chg="mod">
          <ac:chgData name="Ananth Mohan" userId="0+ntHPCRoNBLvPdhBUzfljBEc8fje1ZhpS6eiRuEUeE=" providerId="None" clId="Web-{E9159C55-B795-4E7D-A006-BD39668F21F8}" dt="2025-03-06T21:09:41.163" v="246" actId="1076"/>
          <ac:spMkLst>
            <pc:docMk/>
            <pc:sldMk cId="810637578" sldId="263"/>
            <ac:spMk id="69" creationId="{776AF60B-BFA5-9759-BCD1-2B2694CCF0E5}"/>
          </ac:spMkLst>
        </pc:spChg>
        <pc:spChg chg="mod">
          <ac:chgData name="Ananth Mohan" userId="0+ntHPCRoNBLvPdhBUzfljBEc8fje1ZhpS6eiRuEUeE=" providerId="None" clId="Web-{E9159C55-B795-4E7D-A006-BD39668F21F8}" dt="2025-03-06T21:10:04.523" v="261" actId="1076"/>
          <ac:spMkLst>
            <pc:docMk/>
            <pc:sldMk cId="810637578" sldId="263"/>
            <ac:spMk id="72" creationId="{A273EECD-5827-45C7-0516-A08EBF059C6F}"/>
          </ac:spMkLst>
        </pc:spChg>
        <pc:spChg chg="mod">
          <ac:chgData name="Ananth Mohan" userId="0+ntHPCRoNBLvPdhBUzfljBEc8fje1ZhpS6eiRuEUeE=" providerId="None" clId="Web-{E9159C55-B795-4E7D-A006-BD39668F21F8}" dt="2025-03-06T21:05:41.464" v="198" actId="1076"/>
          <ac:spMkLst>
            <pc:docMk/>
            <pc:sldMk cId="810637578" sldId="263"/>
            <ac:spMk id="75" creationId="{93F3C628-36B3-04B5-05D2-77C7E4E26711}"/>
          </ac:spMkLst>
        </pc:spChg>
        <pc:spChg chg="mod">
          <ac:chgData name="Ananth Mohan" userId="0+ntHPCRoNBLvPdhBUzfljBEc8fje1ZhpS6eiRuEUeE=" providerId="None" clId="Web-{E9159C55-B795-4E7D-A006-BD39668F21F8}" dt="2025-03-06T21:10:04.742" v="262" actId="1076"/>
          <ac:spMkLst>
            <pc:docMk/>
            <pc:sldMk cId="810637578" sldId="263"/>
            <ac:spMk id="76" creationId="{48CD5E2D-C4B8-BA81-84C4-DA4C91DBAAF9}"/>
          </ac:spMkLst>
        </pc:spChg>
        <pc:spChg chg="mod">
          <ac:chgData name="Ananth Mohan" userId="0+ntHPCRoNBLvPdhBUzfljBEc8fje1ZhpS6eiRuEUeE=" providerId="None" clId="Web-{E9159C55-B795-4E7D-A006-BD39668F21F8}" dt="2025-03-06T20:34:01.735" v="27" actId="1076"/>
          <ac:spMkLst>
            <pc:docMk/>
            <pc:sldMk cId="810637578" sldId="263"/>
            <ac:spMk id="77" creationId="{7D0B9666-3719-1805-B13B-7CFFAA25FC5F}"/>
          </ac:spMkLst>
        </pc:spChg>
        <pc:spChg chg="ord">
          <ac:chgData name="Ananth Mohan" userId="0+ntHPCRoNBLvPdhBUzfljBEc8fje1ZhpS6eiRuEUeE=" providerId="None" clId="Web-{E9159C55-B795-4E7D-A006-BD39668F21F8}" dt="2025-03-06T21:08:48.332" v="225"/>
          <ac:spMkLst>
            <pc:docMk/>
            <pc:sldMk cId="810637578" sldId="263"/>
            <ac:spMk id="79" creationId="{C2F0ECF5-FB8F-5F42-9F59-A78A6D3945A6}"/>
          </ac:spMkLst>
        </pc:spChg>
        <pc:spChg chg="mod">
          <ac:chgData name="Ananth Mohan" userId="0+ntHPCRoNBLvPdhBUzfljBEc8fje1ZhpS6eiRuEUeE=" providerId="None" clId="Web-{E9159C55-B795-4E7D-A006-BD39668F21F8}" dt="2025-03-06T21:09:41.382" v="247" actId="1076"/>
          <ac:spMkLst>
            <pc:docMk/>
            <pc:sldMk cId="810637578" sldId="263"/>
            <ac:spMk id="80" creationId="{3848FF21-25C9-A6EE-D357-B1A2FA8D400F}"/>
          </ac:spMkLst>
        </pc:spChg>
        <pc:spChg chg="mod">
          <ac:chgData name="Ananth Mohan" userId="0+ntHPCRoNBLvPdhBUzfljBEc8fje1ZhpS6eiRuEUeE=" providerId="None" clId="Web-{E9159C55-B795-4E7D-A006-BD39668F21F8}" dt="2025-03-06T21:06:46.311" v="212" actId="20577"/>
          <ac:spMkLst>
            <pc:docMk/>
            <pc:sldMk cId="810637578" sldId="263"/>
            <ac:spMk id="81" creationId="{736A3F39-55EC-EE46-2D7A-20EBB6F3C7C8}"/>
          </ac:spMkLst>
        </pc:spChg>
        <pc:spChg chg="mod">
          <ac:chgData name="Ananth Mohan" userId="0+ntHPCRoNBLvPdhBUzfljBEc8fje1ZhpS6eiRuEUeE=" providerId="None" clId="Web-{E9159C55-B795-4E7D-A006-BD39668F21F8}" dt="2025-03-06T21:13:44.815" v="264" actId="1076"/>
          <ac:spMkLst>
            <pc:docMk/>
            <pc:sldMk cId="810637578" sldId="263"/>
            <ac:spMk id="87" creationId="{8CCB822F-761C-CC27-87F8-029A1489A5EA}"/>
          </ac:spMkLst>
        </pc:spChg>
        <pc:spChg chg="add mod">
          <ac:chgData name="Ananth Mohan" userId="0+ntHPCRoNBLvPdhBUzfljBEc8fje1ZhpS6eiRuEUeE=" providerId="None" clId="Web-{E9159C55-B795-4E7D-A006-BD39668F21F8}" dt="2025-03-06T20:52:42.709" v="144" actId="1076"/>
          <ac:spMkLst>
            <pc:docMk/>
            <pc:sldMk cId="810637578" sldId="263"/>
            <ac:spMk id="93" creationId="{0A6C5382-6321-4B46-5C49-6CFFA28977A1}"/>
          </ac:spMkLst>
        </pc:spChg>
        <pc:spChg chg="add del mod">
          <ac:chgData name="Ananth Mohan" userId="0+ntHPCRoNBLvPdhBUzfljBEc8fje1ZhpS6eiRuEUeE=" providerId="None" clId="Web-{E9159C55-B795-4E7D-A006-BD39668F21F8}" dt="2025-03-06T20:31:00.070" v="19"/>
          <ac:spMkLst>
            <pc:docMk/>
            <pc:sldMk cId="810637578" sldId="263"/>
            <ac:spMk id="96" creationId="{CAB3C680-B115-064B-C9AA-26F92B7405B6}"/>
          </ac:spMkLst>
        </pc:spChg>
        <pc:spChg chg="mod">
          <ac:chgData name="Ananth Mohan" userId="0+ntHPCRoNBLvPdhBUzfljBEc8fje1ZhpS6eiRuEUeE=" providerId="None" clId="Web-{E9159C55-B795-4E7D-A006-BD39668F21F8}" dt="2025-03-06T20:47:49.305" v="124"/>
          <ac:spMkLst>
            <pc:docMk/>
            <pc:sldMk cId="810637578" sldId="263"/>
            <ac:spMk id="100" creationId="{62081406-995D-5EA6-5F35-85B29C5A8BBB}"/>
          </ac:spMkLst>
        </pc:spChg>
        <pc:spChg chg="mod">
          <ac:chgData name="Ananth Mohan" userId="0+ntHPCRoNBLvPdhBUzfljBEc8fje1ZhpS6eiRuEUeE=" providerId="None" clId="Web-{E9159C55-B795-4E7D-A006-BD39668F21F8}" dt="2025-03-06T21:09:47.304" v="248" actId="20577"/>
          <ac:spMkLst>
            <pc:docMk/>
            <pc:sldMk cId="810637578" sldId="263"/>
            <ac:spMk id="103" creationId="{714B413B-18F0-E1B8-CE3F-373315363887}"/>
          </ac:spMkLst>
        </pc:spChg>
        <pc:spChg chg="mod">
          <ac:chgData name="Ananth Mohan" userId="0+ntHPCRoNBLvPdhBUzfljBEc8fje1ZhpS6eiRuEUeE=" providerId="None" clId="Web-{E9159C55-B795-4E7D-A006-BD39668F21F8}" dt="2025-03-06T20:34:00.782" v="26" actId="1076"/>
          <ac:spMkLst>
            <pc:docMk/>
            <pc:sldMk cId="810637578" sldId="263"/>
            <ac:spMk id="105" creationId="{F3F38A43-0A4B-88AD-6539-02458E1CB45C}"/>
          </ac:spMkLst>
        </pc:spChg>
        <pc:spChg chg="mod">
          <ac:chgData name="Ananth Mohan" userId="0+ntHPCRoNBLvPdhBUzfljBEc8fje1ZhpS6eiRuEUeE=" providerId="None" clId="Web-{E9159C55-B795-4E7D-A006-BD39668F21F8}" dt="2025-03-06T20:46:00.815" v="115" actId="1076"/>
          <ac:spMkLst>
            <pc:docMk/>
            <pc:sldMk cId="810637578" sldId="263"/>
            <ac:spMk id="106" creationId="{9C71C168-F78F-D512-FE12-4A0575D8FD56}"/>
          </ac:spMkLst>
        </pc:spChg>
        <pc:spChg chg="mod">
          <ac:chgData name="Ananth Mohan" userId="0+ntHPCRoNBLvPdhBUzfljBEc8fje1ZhpS6eiRuEUeE=" providerId="None" clId="Web-{E9159C55-B795-4E7D-A006-BD39668F21F8}" dt="2025-03-06T21:07:31.891" v="213" actId="1076"/>
          <ac:spMkLst>
            <pc:docMk/>
            <pc:sldMk cId="810637578" sldId="263"/>
            <ac:spMk id="107" creationId="{EB9A831C-D977-1EE7-2F6C-B58C2FD1B355}"/>
          </ac:spMkLst>
        </pc:spChg>
        <pc:spChg chg="mod">
          <ac:chgData name="Ananth Mohan" userId="0+ntHPCRoNBLvPdhBUzfljBEc8fje1ZhpS6eiRuEUeE=" providerId="None" clId="Web-{E9159C55-B795-4E7D-A006-BD39668F21F8}" dt="2025-03-06T20:52:53.491" v="147" actId="20577"/>
          <ac:spMkLst>
            <pc:docMk/>
            <pc:sldMk cId="810637578" sldId="263"/>
            <ac:spMk id="127" creationId="{FE7B4270-3224-663B-B190-7CE82AB374E6}"/>
          </ac:spMkLst>
        </pc:spChg>
        <pc:grpChg chg="add mod">
          <ac:chgData name="Ananth Mohan" userId="0+ntHPCRoNBLvPdhBUzfljBEc8fje1ZhpS6eiRuEUeE=" providerId="None" clId="Web-{E9159C55-B795-4E7D-A006-BD39668F21F8}" dt="2025-03-06T21:08:58.411" v="237" actId="1076"/>
          <ac:grpSpMkLst>
            <pc:docMk/>
            <pc:sldMk cId="810637578" sldId="263"/>
            <ac:grpSpMk id="7" creationId="{0905895C-E2DA-9D27-1EDC-532C4F0847DE}"/>
          </ac:grpSpMkLst>
        </pc:grpChg>
        <pc:grpChg chg="mod">
          <ac:chgData name="Ananth Mohan" userId="0+ntHPCRoNBLvPdhBUzfljBEc8fje1ZhpS6eiRuEUeE=" providerId="None" clId="Web-{E9159C55-B795-4E7D-A006-BD39668F21F8}" dt="2025-03-06T20:53:18.867" v="150" actId="1076"/>
          <ac:grpSpMkLst>
            <pc:docMk/>
            <pc:sldMk cId="810637578" sldId="263"/>
            <ac:grpSpMk id="92" creationId="{8E2C802D-9017-2B1C-065A-FBF42B648649}"/>
          </ac:grpSpMkLst>
        </pc:grpChg>
        <pc:graphicFrameChg chg="mod modGraphic">
          <ac:chgData name="Ananth Mohan" userId="0+ntHPCRoNBLvPdhBUzfljBEc8fje1ZhpS6eiRuEUeE=" providerId="None" clId="Web-{E9159C55-B795-4E7D-A006-BD39668F21F8}" dt="2025-03-06T20:48:25.728" v="142"/>
          <ac:graphicFrameMkLst>
            <pc:docMk/>
            <pc:sldMk cId="810637578" sldId="263"/>
            <ac:graphicFrameMk id="24" creationId="{7274279B-F42A-9AD0-943B-BBB4F1D0EF0B}"/>
          </ac:graphicFrameMkLst>
        </pc:graphicFrameChg>
        <pc:picChg chg="mod">
          <ac:chgData name="Ananth Mohan" userId="0+ntHPCRoNBLvPdhBUzfljBEc8fje1ZhpS6eiRuEUeE=" providerId="None" clId="Web-{E9159C55-B795-4E7D-A006-BD39668F21F8}" dt="2025-03-06T20:45:49.331" v="114" actId="1076"/>
          <ac:picMkLst>
            <pc:docMk/>
            <pc:sldMk cId="810637578" sldId="263"/>
            <ac:picMk id="4" creationId="{486A0C58-EC79-1171-04D5-69D65D61C307}"/>
          </ac:picMkLst>
        </pc:picChg>
        <pc:picChg chg="mod">
          <ac:chgData name="Ananth Mohan" userId="0+ntHPCRoNBLvPdhBUzfljBEc8fje1ZhpS6eiRuEUeE=" providerId="None" clId="Web-{E9159C55-B795-4E7D-A006-BD39668F21F8}" dt="2025-03-06T21:08:58.411" v="238" actId="1076"/>
          <ac:picMkLst>
            <pc:docMk/>
            <pc:sldMk cId="810637578" sldId="263"/>
            <ac:picMk id="6" creationId="{17FC9AB6-0368-7A10-7759-A5B77B50E4C2}"/>
          </ac:picMkLst>
        </pc:picChg>
        <pc:picChg chg="mod">
          <ac:chgData name="Ananth Mohan" userId="0+ntHPCRoNBLvPdhBUzfljBEc8fje1ZhpS6eiRuEUeE=" providerId="None" clId="Web-{E9159C55-B795-4E7D-A006-BD39668F21F8}" dt="2025-03-06T20:42:11.774" v="106" actId="14100"/>
          <ac:picMkLst>
            <pc:docMk/>
            <pc:sldMk cId="810637578" sldId="263"/>
            <ac:picMk id="34" creationId="{6F317624-54BB-CAB1-F192-71909F611D1B}"/>
          </ac:picMkLst>
        </pc:picChg>
        <pc:picChg chg="mod">
          <ac:chgData name="Ananth Mohan" userId="0+ntHPCRoNBLvPdhBUzfljBEc8fje1ZhpS6eiRuEUeE=" providerId="None" clId="Web-{E9159C55-B795-4E7D-A006-BD39668F21F8}" dt="2025-03-06T21:04:46.524" v="191" actId="1076"/>
          <ac:picMkLst>
            <pc:docMk/>
            <pc:sldMk cId="810637578" sldId="263"/>
            <ac:picMk id="85" creationId="{68C5030D-DD6A-FAB4-1980-5C1A5FD0E30E}"/>
          </ac:picMkLst>
        </pc:picChg>
        <pc:picChg chg="add del mod">
          <ac:chgData name="Ananth Mohan" userId="0+ntHPCRoNBLvPdhBUzfljBEc8fje1ZhpS6eiRuEUeE=" providerId="None" clId="Web-{E9159C55-B795-4E7D-A006-BD39668F21F8}" dt="2025-03-06T20:38:29.919" v="33"/>
          <ac:picMkLst>
            <pc:docMk/>
            <pc:sldMk cId="810637578" sldId="263"/>
            <ac:picMk id="96" creationId="{D215C417-0407-59B0-CE88-4C74CC301446}"/>
          </ac:picMkLst>
        </pc:picChg>
        <pc:picChg chg="mod">
          <ac:chgData name="Ananth Mohan" userId="0+ntHPCRoNBLvPdhBUzfljBEc8fje1ZhpS6eiRuEUeE=" providerId="None" clId="Web-{E9159C55-B795-4E7D-A006-BD39668F21F8}" dt="2025-03-06T20:58:13.146" v="153" actId="1076"/>
          <ac:picMkLst>
            <pc:docMk/>
            <pc:sldMk cId="810637578" sldId="263"/>
            <ac:picMk id="113" creationId="{F18D496A-11C0-2F8D-34D1-C357C346DC53}"/>
          </ac:picMkLst>
        </pc:picChg>
        <pc:picChg chg="mod">
          <ac:chgData name="Ananth Mohan" userId="0+ntHPCRoNBLvPdhBUzfljBEc8fje1ZhpS6eiRuEUeE=" providerId="None" clId="Web-{E9159C55-B795-4E7D-A006-BD39668F21F8}" dt="2025-03-06T20:58:13.365" v="154" actId="1076"/>
          <ac:picMkLst>
            <pc:docMk/>
            <pc:sldMk cId="810637578" sldId="263"/>
            <ac:picMk id="119" creationId="{807D2418-034A-EAC4-2825-D4DB770A0295}"/>
          </ac:picMkLst>
        </pc:picChg>
        <pc:picChg chg="add mod">
          <ac:chgData name="Ananth Mohan" userId="0+ntHPCRoNBLvPdhBUzfljBEc8fje1ZhpS6eiRuEUeE=" providerId="None" clId="Web-{E9159C55-B795-4E7D-A006-BD39668F21F8}" dt="2025-03-06T21:03:21.958" v="189" actId="1076"/>
          <ac:picMkLst>
            <pc:docMk/>
            <pc:sldMk cId="810637578" sldId="263"/>
            <ac:picMk id="125" creationId="{4C3E4435-5298-229F-59B5-6940E4928EA1}"/>
          </ac:picMkLst>
        </pc:picChg>
        <pc:picChg chg="del mod">
          <ac:chgData name="Ananth Mohan" userId="0+ntHPCRoNBLvPdhBUzfljBEc8fje1ZhpS6eiRuEUeE=" providerId="None" clId="Web-{E9159C55-B795-4E7D-A006-BD39668F21F8}" dt="2025-03-06T20:37:08.947" v="28"/>
          <ac:picMkLst>
            <pc:docMk/>
            <pc:sldMk cId="810637578" sldId="263"/>
            <ac:picMk id="126" creationId="{6CFDA989-A1D0-8F4C-7B2B-DBE5173102F7}"/>
          </ac:picMkLst>
        </pc:picChg>
        <pc:picChg chg="mod">
          <ac:chgData name="Ananth Mohan" userId="0+ntHPCRoNBLvPdhBUzfljBEc8fje1ZhpS6eiRuEUeE=" providerId="None" clId="Web-{E9159C55-B795-4E7D-A006-BD39668F21F8}" dt="2025-03-06T20:58:13.600" v="155" actId="1076"/>
          <ac:picMkLst>
            <pc:docMk/>
            <pc:sldMk cId="810637578" sldId="263"/>
            <ac:picMk id="135" creationId="{B51AE199-CA1B-61A5-524E-4E32922D6E5C}"/>
          </ac:picMkLst>
        </pc:picChg>
        <pc:picChg chg="mod">
          <ac:chgData name="Ananth Mohan" userId="0+ntHPCRoNBLvPdhBUzfljBEc8fje1ZhpS6eiRuEUeE=" providerId="None" clId="Web-{E9159C55-B795-4E7D-A006-BD39668F21F8}" dt="2025-03-06T20:58:13.850" v="156" actId="1076"/>
          <ac:picMkLst>
            <pc:docMk/>
            <pc:sldMk cId="810637578" sldId="263"/>
            <ac:picMk id="136" creationId="{05916903-9926-EC8C-54D0-971BAC4860ED}"/>
          </ac:picMkLst>
        </pc:picChg>
        <pc:picChg chg="mod">
          <ac:chgData name="Ananth Mohan" userId="0+ntHPCRoNBLvPdhBUzfljBEc8fje1ZhpS6eiRuEUeE=" providerId="None" clId="Web-{E9159C55-B795-4E7D-A006-BD39668F21F8}" dt="2025-03-06T20:58:14.115" v="157" actId="1076"/>
          <ac:picMkLst>
            <pc:docMk/>
            <pc:sldMk cId="810637578" sldId="263"/>
            <ac:picMk id="137" creationId="{FD36B874-DD99-19AC-936B-E99ECCB3DD1D}"/>
          </ac:picMkLst>
        </pc:picChg>
        <pc:picChg chg="mod">
          <ac:chgData name="Ananth Mohan" userId="0+ntHPCRoNBLvPdhBUzfljBEc8fje1ZhpS6eiRuEUeE=" providerId="None" clId="Web-{E9159C55-B795-4E7D-A006-BD39668F21F8}" dt="2025-03-06T20:58:14.350" v="158" actId="1076"/>
          <ac:picMkLst>
            <pc:docMk/>
            <pc:sldMk cId="810637578" sldId="263"/>
            <ac:picMk id="138" creationId="{6CDE29A6-44D3-349D-1214-56EFAAE8F226}"/>
          </ac:picMkLst>
        </pc:picChg>
        <pc:picChg chg="mod">
          <ac:chgData name="Ananth Mohan" userId="0+ntHPCRoNBLvPdhBUzfljBEc8fje1ZhpS6eiRuEUeE=" providerId="None" clId="Web-{E9159C55-B795-4E7D-A006-BD39668F21F8}" dt="2025-03-06T20:58:14.568" v="159" actId="1076"/>
          <ac:picMkLst>
            <pc:docMk/>
            <pc:sldMk cId="810637578" sldId="263"/>
            <ac:picMk id="139" creationId="{6166D332-7B39-7162-75E9-D849EFBFBBA0}"/>
          </ac:picMkLst>
        </pc:picChg>
        <pc:picChg chg="mod">
          <ac:chgData name="Ananth Mohan" userId="0+ntHPCRoNBLvPdhBUzfljBEc8fje1ZhpS6eiRuEUeE=" providerId="None" clId="Web-{E9159C55-B795-4E7D-A006-BD39668F21F8}" dt="2025-03-06T20:58:14.803" v="160" actId="1076"/>
          <ac:picMkLst>
            <pc:docMk/>
            <pc:sldMk cId="810637578" sldId="263"/>
            <ac:picMk id="140" creationId="{89BEF956-BD3D-ACEA-2539-B3B702E603DB}"/>
          </ac:picMkLst>
        </pc:picChg>
        <pc:cxnChg chg="mod">
          <ac:chgData name="Ananth Mohan" userId="0+ntHPCRoNBLvPdhBUzfljBEc8fje1ZhpS6eiRuEUeE=" providerId="None" clId="Web-{E9159C55-B795-4E7D-A006-BD39668F21F8}" dt="2025-03-06T20:47:58.946" v="125"/>
          <ac:cxnSpMkLst>
            <pc:docMk/>
            <pc:sldMk cId="810637578" sldId="263"/>
            <ac:cxnSpMk id="26" creationId="{9E37D577-5CD7-4A5A-323B-6B5FBEDA41A6}"/>
          </ac:cxnSpMkLst>
        </pc:cxnChg>
        <pc:cxnChg chg="mod">
          <ac:chgData name="Ananth Mohan" userId="0+ntHPCRoNBLvPdhBUzfljBEc8fje1ZhpS6eiRuEUeE=" providerId="None" clId="Web-{E9159C55-B795-4E7D-A006-BD39668F21F8}" dt="2025-03-06T21:06:00.231" v="202" actId="1076"/>
          <ac:cxnSpMkLst>
            <pc:docMk/>
            <pc:sldMk cId="810637578" sldId="263"/>
            <ac:cxnSpMk id="53" creationId="{52ED3DD2-85CF-8C89-45DB-46A78137575D}"/>
          </ac:cxnSpMkLst>
        </pc:cxnChg>
        <pc:cxnChg chg="mod ord">
          <ac:chgData name="Ananth Mohan" userId="0+ntHPCRoNBLvPdhBUzfljBEc8fje1ZhpS6eiRuEUeE=" providerId="None" clId="Web-{E9159C55-B795-4E7D-A006-BD39668F21F8}" dt="2025-03-06T21:05:59.981" v="201" actId="1076"/>
          <ac:cxnSpMkLst>
            <pc:docMk/>
            <pc:sldMk cId="810637578" sldId="263"/>
            <ac:cxnSpMk id="55" creationId="{1724909C-7D2F-3B28-6FF4-B3076A59A6A7}"/>
          </ac:cxnSpMkLst>
        </pc:cxnChg>
        <pc:cxnChg chg="ord">
          <ac:chgData name="Ananth Mohan" userId="0+ntHPCRoNBLvPdhBUzfljBEc8fje1ZhpS6eiRuEUeE=" providerId="None" clId="Web-{E9159C55-B795-4E7D-A006-BD39668F21F8}" dt="2025-03-06T21:05:52.308" v="200"/>
          <ac:cxnSpMkLst>
            <pc:docMk/>
            <pc:sldMk cId="810637578" sldId="263"/>
            <ac:cxnSpMk id="56" creationId="{500092EC-EE5D-F675-EE6D-32E05CB0BBC9}"/>
          </ac:cxnSpMkLst>
        </pc:cxnChg>
        <pc:cxnChg chg="mod">
          <ac:chgData name="Ananth Mohan" userId="0+ntHPCRoNBLvPdhBUzfljBEc8fje1ZhpS6eiRuEUeE=" providerId="None" clId="Web-{E9159C55-B795-4E7D-A006-BD39668F21F8}" dt="2025-03-06T21:10:02.554" v="252" actId="1076"/>
          <ac:cxnSpMkLst>
            <pc:docMk/>
            <pc:sldMk cId="810637578" sldId="263"/>
            <ac:cxnSpMk id="58" creationId="{8192D790-E699-74CA-0F98-AA166A3F71C2}"/>
          </ac:cxnSpMkLst>
        </pc:cxnChg>
        <pc:cxnChg chg="mod">
          <ac:chgData name="Ananth Mohan" userId="0+ntHPCRoNBLvPdhBUzfljBEc8fje1ZhpS6eiRuEUeE=" providerId="None" clId="Web-{E9159C55-B795-4E7D-A006-BD39668F21F8}" dt="2025-03-06T21:10:02.773" v="253" actId="1076"/>
          <ac:cxnSpMkLst>
            <pc:docMk/>
            <pc:sldMk cId="810637578" sldId="263"/>
            <ac:cxnSpMk id="61" creationId="{7E3499DF-321A-48FA-85E0-836771029D58}"/>
          </ac:cxnSpMkLst>
        </pc:cxnChg>
        <pc:cxnChg chg="mod">
          <ac:chgData name="Ananth Mohan" userId="0+ntHPCRoNBLvPdhBUzfljBEc8fje1ZhpS6eiRuEUeE=" providerId="None" clId="Web-{E9159C55-B795-4E7D-A006-BD39668F21F8}" dt="2025-03-06T21:10:03.211" v="255" actId="1076"/>
          <ac:cxnSpMkLst>
            <pc:docMk/>
            <pc:sldMk cId="810637578" sldId="263"/>
            <ac:cxnSpMk id="63" creationId="{A348BCEA-40F9-4D62-00A8-90F41D15DF60}"/>
          </ac:cxnSpMkLst>
        </pc:cxnChg>
        <pc:cxnChg chg="mod">
          <ac:chgData name="Ananth Mohan" userId="0+ntHPCRoNBLvPdhBUzfljBEc8fje1ZhpS6eiRuEUeE=" providerId="None" clId="Web-{E9159C55-B795-4E7D-A006-BD39668F21F8}" dt="2025-03-06T21:10:03.648" v="257" actId="1076"/>
          <ac:cxnSpMkLst>
            <pc:docMk/>
            <pc:sldMk cId="810637578" sldId="263"/>
            <ac:cxnSpMk id="65" creationId="{C6633DB3-F536-BAB8-A315-4566415ECF90}"/>
          </ac:cxnSpMkLst>
        </pc:cxnChg>
        <pc:cxnChg chg="mod">
          <ac:chgData name="Ananth Mohan" userId="0+ntHPCRoNBLvPdhBUzfljBEc8fje1ZhpS6eiRuEUeE=" providerId="None" clId="Web-{E9159C55-B795-4E7D-A006-BD39668F21F8}" dt="2025-03-06T21:10:04.320" v="260" actId="1076"/>
          <ac:cxnSpMkLst>
            <pc:docMk/>
            <pc:sldMk cId="810637578" sldId="263"/>
            <ac:cxnSpMk id="71" creationId="{B178683D-83C3-B81F-31E0-84FDBC54BD9F}"/>
          </ac:cxnSpMkLst>
        </pc:cxnChg>
        <pc:extLst>
          <p:ext xmlns:p="http://schemas.openxmlformats.org/presentationml/2006/main" uri="{D6D511B9-2390-475A-947B-AFAB55BFBCF1}">
            <pc226:cmChg xmlns:pc226="http://schemas.microsoft.com/office/powerpoint/2022/06/main/command" chg="mod">
              <pc226:chgData name="Ananth Mohan" userId="0+ntHPCRoNBLvPdhBUzfljBEc8fje1ZhpS6eiRuEUeE=" providerId="None" clId="Web-{E9159C55-B795-4E7D-A006-BD39668F21F8}" dt="2025-03-06T20:46:04.331" v="116" actId="20577"/>
              <pc2:cmMkLst xmlns:pc2="http://schemas.microsoft.com/office/powerpoint/2019/9/main/command">
                <pc:docMk/>
                <pc:sldMk cId="810637578" sldId="263"/>
                <pc2:cmMk id="{E0558DB1-E828-415A-BF3F-74D97FC8535A}"/>
              </pc2:cmMkLst>
            </pc226:cmChg>
          </p:ext>
        </pc:extLst>
      </pc:sldChg>
    </pc:docChg>
  </pc:docChgLst>
  <pc:docChgLst>
    <pc:chgData name="Ananth Mohan" userId="0+ntHPCRoNBLvPdhBUzfljBEc8fje1ZhpS6eiRuEUeE=" providerId="None" clId="Web-{EBFD2B8E-AD23-4726-9F20-65C72686AC6D}"/>
    <pc:docChg chg="modSld">
      <pc:chgData name="Ananth Mohan" userId="0+ntHPCRoNBLvPdhBUzfljBEc8fje1ZhpS6eiRuEUeE=" providerId="None" clId="Web-{EBFD2B8E-AD23-4726-9F20-65C72686AC6D}" dt="2025-03-06T20:18:10.395" v="94" actId="14100"/>
      <pc:docMkLst>
        <pc:docMk/>
      </pc:docMkLst>
      <pc:sldChg chg="addSp delSp modSp">
        <pc:chgData name="Ananth Mohan" userId="0+ntHPCRoNBLvPdhBUzfljBEc8fje1ZhpS6eiRuEUeE=" providerId="None" clId="Web-{EBFD2B8E-AD23-4726-9F20-65C72686AC6D}" dt="2025-03-06T20:18:10.395" v="94" actId="14100"/>
        <pc:sldMkLst>
          <pc:docMk/>
          <pc:sldMk cId="810637578" sldId="263"/>
        </pc:sldMkLst>
        <pc:spChg chg="mod">
          <ac:chgData name="Ananth Mohan" userId="0+ntHPCRoNBLvPdhBUzfljBEc8fje1ZhpS6eiRuEUeE=" providerId="None" clId="Web-{EBFD2B8E-AD23-4726-9F20-65C72686AC6D}" dt="2025-03-06T20:16:51.999" v="93" actId="20577"/>
          <ac:spMkLst>
            <pc:docMk/>
            <pc:sldMk cId="810637578" sldId="263"/>
            <ac:spMk id="35" creationId="{91B69CFA-4206-66AF-2A07-747605122BB8}"/>
          </ac:spMkLst>
        </pc:spChg>
        <pc:spChg chg="mod">
          <ac:chgData name="Ananth Mohan" userId="0+ntHPCRoNBLvPdhBUzfljBEc8fje1ZhpS6eiRuEUeE=" providerId="None" clId="Web-{EBFD2B8E-AD23-4726-9F20-65C72686AC6D}" dt="2025-03-06T19:52:05.680" v="1"/>
          <ac:spMkLst>
            <pc:docMk/>
            <pc:sldMk cId="810637578" sldId="263"/>
            <ac:spMk id="64" creationId="{D5E1E239-23AD-C382-9F30-A42E6BC0F904}"/>
          </ac:spMkLst>
        </pc:spChg>
        <pc:spChg chg="mod">
          <ac:chgData name="Ananth Mohan" userId="0+ntHPCRoNBLvPdhBUzfljBEc8fje1ZhpS6eiRuEUeE=" providerId="None" clId="Web-{EBFD2B8E-AD23-4726-9F20-65C72686AC6D}" dt="2025-03-06T20:12:54.373" v="44" actId="1076"/>
          <ac:spMkLst>
            <pc:docMk/>
            <pc:sldMk cId="810637578" sldId="263"/>
            <ac:spMk id="87" creationId="{8CCB822F-761C-CC27-87F8-029A1489A5EA}"/>
          </ac:spMkLst>
        </pc:spChg>
        <pc:spChg chg="del mod">
          <ac:chgData name="Ananth Mohan" userId="0+ntHPCRoNBLvPdhBUzfljBEc8fje1ZhpS6eiRuEUeE=" providerId="None" clId="Web-{EBFD2B8E-AD23-4726-9F20-65C72686AC6D}" dt="2025-03-06T20:12:17.308" v="35"/>
          <ac:spMkLst>
            <pc:docMk/>
            <pc:sldMk cId="810637578" sldId="263"/>
            <ac:spMk id="93" creationId="{B355F0C5-E4DB-B25E-429E-9E8232286901}"/>
          </ac:spMkLst>
        </pc:spChg>
        <pc:spChg chg="add del">
          <ac:chgData name="Ananth Mohan" userId="0+ntHPCRoNBLvPdhBUzfljBEc8fje1ZhpS6eiRuEUeE=" providerId="None" clId="Web-{EBFD2B8E-AD23-4726-9F20-65C72686AC6D}" dt="2025-03-06T20:04:05.119" v="20"/>
          <ac:spMkLst>
            <pc:docMk/>
            <pc:sldMk cId="810637578" sldId="263"/>
            <ac:spMk id="104" creationId="{AC9DA866-9957-5A69-7D89-32FD72BE1AC2}"/>
          </ac:spMkLst>
        </pc:spChg>
        <pc:spChg chg="add del">
          <ac:chgData name="Ananth Mohan" userId="0+ntHPCRoNBLvPdhBUzfljBEc8fje1ZhpS6eiRuEUeE=" providerId="None" clId="Web-{EBFD2B8E-AD23-4726-9F20-65C72686AC6D}" dt="2025-03-06T20:03:57.900" v="19"/>
          <ac:spMkLst>
            <pc:docMk/>
            <pc:sldMk cId="810637578" sldId="263"/>
            <ac:spMk id="125" creationId="{45ECA54B-A995-76D5-5FEA-5153A2577D23}"/>
          </ac:spMkLst>
        </pc:spChg>
        <pc:spChg chg="add mod">
          <ac:chgData name="Ananth Mohan" userId="0+ntHPCRoNBLvPdhBUzfljBEc8fje1ZhpS6eiRuEUeE=" providerId="None" clId="Web-{EBFD2B8E-AD23-4726-9F20-65C72686AC6D}" dt="2025-03-06T20:12:44.435" v="42" actId="1076"/>
          <ac:spMkLst>
            <pc:docMk/>
            <pc:sldMk cId="810637578" sldId="263"/>
            <ac:spMk id="127" creationId="{FE7B4270-3224-663B-B190-7CE82AB374E6}"/>
          </ac:spMkLst>
        </pc:spChg>
        <pc:grpChg chg="mod">
          <ac:chgData name="Ananth Mohan" userId="0+ntHPCRoNBLvPdhBUzfljBEc8fje1ZhpS6eiRuEUeE=" providerId="None" clId="Web-{EBFD2B8E-AD23-4726-9F20-65C72686AC6D}" dt="2025-03-06T20:12:54.061" v="43" actId="1076"/>
          <ac:grpSpMkLst>
            <pc:docMk/>
            <pc:sldMk cId="810637578" sldId="263"/>
            <ac:grpSpMk id="92" creationId="{8E2C802D-9017-2B1C-065A-FBF42B648649}"/>
          </ac:grpSpMkLst>
        </pc:grpChg>
        <pc:picChg chg="add del mod">
          <ac:chgData name="Ananth Mohan" userId="0+ntHPCRoNBLvPdhBUzfljBEc8fje1ZhpS6eiRuEUeE=" providerId="None" clId="Web-{EBFD2B8E-AD23-4726-9F20-65C72686AC6D}" dt="2025-03-06T19:56:36.167" v="7"/>
          <ac:picMkLst>
            <pc:docMk/>
            <pc:sldMk cId="810637578" sldId="263"/>
            <ac:picMk id="2" creationId="{974371E0-7E24-EAF6-9F31-4EA324C4CC4A}"/>
          </ac:picMkLst>
        </pc:picChg>
        <pc:picChg chg="mod">
          <ac:chgData name="Ananth Mohan" userId="0+ntHPCRoNBLvPdhBUzfljBEc8fje1ZhpS6eiRuEUeE=" providerId="None" clId="Web-{EBFD2B8E-AD23-4726-9F20-65C72686AC6D}" dt="2025-03-06T20:18:10.395" v="94" actId="14100"/>
          <ac:picMkLst>
            <pc:docMk/>
            <pc:sldMk cId="810637578" sldId="263"/>
            <ac:picMk id="85" creationId="{E953E701-0539-7D31-6310-E5C121F80CCB}"/>
          </ac:picMkLst>
        </pc:picChg>
        <pc:picChg chg="add del mod">
          <ac:chgData name="Ananth Mohan" userId="0+ntHPCRoNBLvPdhBUzfljBEc8fje1ZhpS6eiRuEUeE=" providerId="None" clId="Web-{EBFD2B8E-AD23-4726-9F20-65C72686AC6D}" dt="2025-03-06T20:11:31.821" v="27"/>
          <ac:picMkLst>
            <pc:docMk/>
            <pc:sldMk cId="810637578" sldId="263"/>
            <ac:picMk id="96" creationId="{19C12D90-1F4A-FA3C-D256-DCEA2D30E04C}"/>
          </ac:picMkLst>
        </pc:picChg>
        <pc:picChg chg="add mod">
          <ac:chgData name="Ananth Mohan" userId="0+ntHPCRoNBLvPdhBUzfljBEc8fje1ZhpS6eiRuEUeE=" providerId="None" clId="Web-{EBFD2B8E-AD23-4726-9F20-65C72686AC6D}" dt="2025-03-06T20:11:24.414" v="26" actId="1076"/>
          <ac:picMkLst>
            <pc:docMk/>
            <pc:sldMk cId="810637578" sldId="263"/>
            <ac:picMk id="126" creationId="{6CFDA989-A1D0-8F4C-7B2B-DBE5173102F7}"/>
          </ac:picMkLst>
        </pc:picChg>
      </pc:sldChg>
    </pc:docChg>
  </pc:docChgLst>
  <pc:docChgLst>
    <pc:chgData name="Shih Min Lin" userId="EZMguJyP4QRPSMfRfjN+Y1sL5Ac+4RMpWotTWDpLLe0=" providerId="None" clId="Web-{30C2A25D-B073-4D64-8BB7-1D6832898740}"/>
    <pc:docChg chg="modSld">
      <pc:chgData name="Shih Min Lin" userId="EZMguJyP4QRPSMfRfjN+Y1sL5Ac+4RMpWotTWDpLLe0=" providerId="None" clId="Web-{30C2A25D-B073-4D64-8BB7-1D6832898740}" dt="2025-03-06T18:10:28.626" v="318" actId="20577"/>
      <pc:docMkLst>
        <pc:docMk/>
      </pc:docMkLst>
      <pc:sldChg chg="modSp">
        <pc:chgData name="Shih Min Lin" userId="EZMguJyP4QRPSMfRfjN+Y1sL5Ac+4RMpWotTWDpLLe0=" providerId="None" clId="Web-{30C2A25D-B073-4D64-8BB7-1D6832898740}" dt="2025-03-06T18:10:28.626" v="318" actId="20577"/>
        <pc:sldMkLst>
          <pc:docMk/>
          <pc:sldMk cId="810637578" sldId="263"/>
        </pc:sldMkLst>
        <pc:spChg chg="mod">
          <ac:chgData name="Shih Min Lin" userId="EZMguJyP4QRPSMfRfjN+Y1sL5Ac+4RMpWotTWDpLLe0=" providerId="None" clId="Web-{30C2A25D-B073-4D64-8BB7-1D6832898740}" dt="2025-03-06T18:10:28.626" v="318" actId="20577"/>
          <ac:spMkLst>
            <pc:docMk/>
            <pc:sldMk cId="810637578" sldId="263"/>
            <ac:spMk id="47" creationId="{07E0DD1A-7B39-59B9-3A3A-EA3C42D7D74A}"/>
          </ac:spMkLst>
        </pc:spChg>
        <pc:spChg chg="mod">
          <ac:chgData name="Shih Min Lin" userId="EZMguJyP4QRPSMfRfjN+Y1sL5Ac+4RMpWotTWDpLLe0=" providerId="None" clId="Web-{30C2A25D-B073-4D64-8BB7-1D6832898740}" dt="2025-03-06T18:09:20.389" v="316" actId="1076"/>
          <ac:spMkLst>
            <pc:docMk/>
            <pc:sldMk cId="810637578" sldId="263"/>
            <ac:spMk id="105" creationId="{F3F38A43-0A4B-88AD-6539-02458E1CB45C}"/>
          </ac:spMkLst>
        </pc:spChg>
      </pc:sldChg>
    </pc:docChg>
  </pc:docChgLst>
  <pc:docChgLst>
    <pc:chgData name="Farha Shireen" userId="K9hHn9oINz5vZ9EtNhWdkbocU8fYfQRPeYvfmnVYJ7Q=" providerId="None" clId="Web-{7D8D3006-E414-4B50-B6CC-D3DC91FF13EA}"/>
    <pc:docChg chg="modSld">
      <pc:chgData name="Farha Shireen" userId="K9hHn9oINz5vZ9EtNhWdkbocU8fYfQRPeYvfmnVYJ7Q=" providerId="None" clId="Web-{7D8D3006-E414-4B50-B6CC-D3DC91FF13EA}" dt="2025-03-29T22:10:15.126" v="406" actId="1076"/>
      <pc:docMkLst>
        <pc:docMk/>
      </pc:docMkLst>
      <pc:sldChg chg="addSp modSp">
        <pc:chgData name="Farha Shireen" userId="K9hHn9oINz5vZ9EtNhWdkbocU8fYfQRPeYvfmnVYJ7Q=" providerId="None" clId="Web-{7D8D3006-E414-4B50-B6CC-D3DC91FF13EA}" dt="2025-03-29T22:10:15.126" v="406" actId="1076"/>
        <pc:sldMkLst>
          <pc:docMk/>
          <pc:sldMk cId="810637578" sldId="263"/>
        </pc:sldMkLst>
        <pc:spChg chg="mod">
          <ac:chgData name="Farha Shireen" userId="K9hHn9oINz5vZ9EtNhWdkbocU8fYfQRPeYvfmnVYJ7Q=" providerId="None" clId="Web-{7D8D3006-E414-4B50-B6CC-D3DC91FF13EA}" dt="2025-03-29T21:10:48.343" v="112" actId="20577"/>
          <ac:spMkLst>
            <pc:docMk/>
            <pc:sldMk cId="810637578" sldId="263"/>
            <ac:spMk id="5" creationId="{D4253DBF-C5E1-107A-A92F-3342904DDE9F}"/>
          </ac:spMkLst>
        </pc:spChg>
        <pc:spChg chg="add mod">
          <ac:chgData name="Farha Shireen" userId="K9hHn9oINz5vZ9EtNhWdkbocU8fYfQRPeYvfmnVYJ7Q=" providerId="None" clId="Web-{7D8D3006-E414-4B50-B6CC-D3DC91FF13EA}" dt="2025-03-29T21:50:04.050" v="350" actId="1076"/>
          <ac:spMkLst>
            <pc:docMk/>
            <pc:sldMk cId="810637578" sldId="263"/>
            <ac:spMk id="7" creationId="{E7B59637-C03A-31BF-46F0-7D4762DDF8CA}"/>
          </ac:spMkLst>
        </pc:spChg>
        <pc:spChg chg="mod">
          <ac:chgData name="Farha Shireen" userId="K9hHn9oINz5vZ9EtNhWdkbocU8fYfQRPeYvfmnVYJ7Q=" providerId="None" clId="Web-{7D8D3006-E414-4B50-B6CC-D3DC91FF13EA}" dt="2025-03-29T21:32:20.616" v="245" actId="1076"/>
          <ac:spMkLst>
            <pc:docMk/>
            <pc:sldMk cId="810637578" sldId="263"/>
            <ac:spMk id="8" creationId="{7C64A13A-A6CE-0BCC-E048-7856D21CA329}"/>
          </ac:spMkLst>
        </pc:spChg>
        <pc:spChg chg="mod">
          <ac:chgData name="Farha Shireen" userId="K9hHn9oINz5vZ9EtNhWdkbocU8fYfQRPeYvfmnVYJ7Q=" providerId="None" clId="Web-{7D8D3006-E414-4B50-B6CC-D3DC91FF13EA}" dt="2025-03-29T21:10:11.421" v="104" actId="1076"/>
          <ac:spMkLst>
            <pc:docMk/>
            <pc:sldMk cId="810637578" sldId="263"/>
            <ac:spMk id="9" creationId="{19AB2F9E-4684-0522-4915-E83244C7D050}"/>
          </ac:spMkLst>
        </pc:spChg>
        <pc:spChg chg="mod">
          <ac:chgData name="Farha Shireen" userId="K9hHn9oINz5vZ9EtNhWdkbocU8fYfQRPeYvfmnVYJ7Q=" providerId="None" clId="Web-{7D8D3006-E414-4B50-B6CC-D3DC91FF13EA}" dt="2025-03-29T21:08:06.718" v="26" actId="20577"/>
          <ac:spMkLst>
            <pc:docMk/>
            <pc:sldMk cId="810637578" sldId="263"/>
            <ac:spMk id="10" creationId="{E12A2CB5-31B3-B8A1-AC34-E6539E91DD51}"/>
          </ac:spMkLst>
        </pc:spChg>
        <pc:spChg chg="mod">
          <ac:chgData name="Farha Shireen" userId="K9hHn9oINz5vZ9EtNhWdkbocU8fYfQRPeYvfmnVYJ7Q=" providerId="None" clId="Web-{7D8D3006-E414-4B50-B6CC-D3DC91FF13EA}" dt="2025-03-29T21:09:09.937" v="74" actId="1076"/>
          <ac:spMkLst>
            <pc:docMk/>
            <pc:sldMk cId="810637578" sldId="263"/>
            <ac:spMk id="12" creationId="{C4D7C6B9-9708-E4DB-DA17-00BBDBB95B30}"/>
          </ac:spMkLst>
        </pc:spChg>
        <pc:spChg chg="mod">
          <ac:chgData name="Farha Shireen" userId="K9hHn9oINz5vZ9EtNhWdkbocU8fYfQRPeYvfmnVYJ7Q=" providerId="None" clId="Web-{7D8D3006-E414-4B50-B6CC-D3DC91FF13EA}" dt="2025-03-29T21:55:46.049" v="371" actId="1076"/>
          <ac:spMkLst>
            <pc:docMk/>
            <pc:sldMk cId="810637578" sldId="263"/>
            <ac:spMk id="13" creationId="{C60A1247-0AC1-E763-5FF5-906DD09F96E5}"/>
          </ac:spMkLst>
        </pc:spChg>
        <pc:spChg chg="mod">
          <ac:chgData name="Farha Shireen" userId="K9hHn9oINz5vZ9EtNhWdkbocU8fYfQRPeYvfmnVYJ7Q=" providerId="None" clId="Web-{7D8D3006-E414-4B50-B6CC-D3DC91FF13EA}" dt="2025-03-29T21:08:57.609" v="60" actId="1076"/>
          <ac:spMkLst>
            <pc:docMk/>
            <pc:sldMk cId="810637578" sldId="263"/>
            <ac:spMk id="17" creationId="{C9B4D23D-7D0A-5D8B-63F7-3F63C3CE303F}"/>
          </ac:spMkLst>
        </pc:spChg>
        <pc:spChg chg="mod">
          <ac:chgData name="Farha Shireen" userId="K9hHn9oINz5vZ9EtNhWdkbocU8fYfQRPeYvfmnVYJ7Q=" providerId="None" clId="Web-{7D8D3006-E414-4B50-B6CC-D3DC91FF13EA}" dt="2025-03-29T21:58:46.533" v="390" actId="1076"/>
          <ac:spMkLst>
            <pc:docMk/>
            <pc:sldMk cId="810637578" sldId="263"/>
            <ac:spMk id="23" creationId="{E665D016-5F0B-4BBA-2B17-E7F1A7822206}"/>
          </ac:spMkLst>
        </pc:spChg>
        <pc:spChg chg="mod">
          <ac:chgData name="Farha Shireen" userId="K9hHn9oINz5vZ9EtNhWdkbocU8fYfQRPeYvfmnVYJ7Q=" providerId="None" clId="Web-{7D8D3006-E414-4B50-B6CC-D3DC91FF13EA}" dt="2025-03-29T22:00:18.080" v="404" actId="1076"/>
          <ac:spMkLst>
            <pc:docMk/>
            <pc:sldMk cId="810637578" sldId="263"/>
            <ac:spMk id="27" creationId="{B5DBB932-36CC-D676-C85C-33A719023472}"/>
          </ac:spMkLst>
        </pc:spChg>
        <pc:spChg chg="mod">
          <ac:chgData name="Farha Shireen" userId="K9hHn9oINz5vZ9EtNhWdkbocU8fYfQRPeYvfmnVYJ7Q=" providerId="None" clId="Web-{7D8D3006-E414-4B50-B6CC-D3DC91FF13EA}" dt="2025-03-29T21:08:57.812" v="61" actId="1076"/>
          <ac:spMkLst>
            <pc:docMk/>
            <pc:sldMk cId="810637578" sldId="263"/>
            <ac:spMk id="29" creationId="{5EB35800-EDB5-0BBE-2A57-90700E72F066}"/>
          </ac:spMkLst>
        </pc:spChg>
        <pc:spChg chg="mod">
          <ac:chgData name="Farha Shireen" userId="K9hHn9oINz5vZ9EtNhWdkbocU8fYfQRPeYvfmnVYJ7Q=" providerId="None" clId="Web-{7D8D3006-E414-4B50-B6CC-D3DC91FF13EA}" dt="2025-03-29T21:08:58.593" v="65" actId="1076"/>
          <ac:spMkLst>
            <pc:docMk/>
            <pc:sldMk cId="810637578" sldId="263"/>
            <ac:spMk id="31" creationId="{3663D265-9D7B-DEF2-B11B-426B2958C548}"/>
          </ac:spMkLst>
        </pc:spChg>
        <pc:spChg chg="mod">
          <ac:chgData name="Farha Shireen" userId="K9hHn9oINz5vZ9EtNhWdkbocU8fYfQRPeYvfmnVYJ7Q=" providerId="None" clId="Web-{7D8D3006-E414-4B50-B6CC-D3DC91FF13EA}" dt="2025-03-29T21:08:59.171" v="68" actId="1076"/>
          <ac:spMkLst>
            <pc:docMk/>
            <pc:sldMk cId="810637578" sldId="263"/>
            <ac:spMk id="32" creationId="{EAE3474C-EF93-7076-2819-D97501639379}"/>
          </ac:spMkLst>
        </pc:spChg>
        <pc:spChg chg="mod">
          <ac:chgData name="Farha Shireen" userId="K9hHn9oINz5vZ9EtNhWdkbocU8fYfQRPeYvfmnVYJ7Q=" providerId="None" clId="Web-{7D8D3006-E414-4B50-B6CC-D3DC91FF13EA}" dt="2025-03-29T21:58:46.736" v="391" actId="1076"/>
          <ac:spMkLst>
            <pc:docMk/>
            <pc:sldMk cId="810637578" sldId="263"/>
            <ac:spMk id="33" creationId="{40FF7FE5-73F7-3C69-89FF-35F7276803F3}"/>
          </ac:spMkLst>
        </pc:spChg>
        <pc:spChg chg="mod">
          <ac:chgData name="Farha Shireen" userId="K9hHn9oINz5vZ9EtNhWdkbocU8fYfQRPeYvfmnVYJ7Q=" providerId="None" clId="Web-{7D8D3006-E414-4B50-B6CC-D3DC91FF13EA}" dt="2025-03-29T21:51:39.300" v="353" actId="1076"/>
          <ac:spMkLst>
            <pc:docMk/>
            <pc:sldMk cId="810637578" sldId="263"/>
            <ac:spMk id="35" creationId="{91B69CFA-4206-66AF-2A07-747605122BB8}"/>
          </ac:spMkLst>
        </pc:spChg>
        <pc:spChg chg="mod">
          <ac:chgData name="Farha Shireen" userId="K9hHn9oINz5vZ9EtNhWdkbocU8fYfQRPeYvfmnVYJ7Q=" providerId="None" clId="Web-{7D8D3006-E414-4B50-B6CC-D3DC91FF13EA}" dt="2025-03-29T21:08:58.780" v="66" actId="1076"/>
          <ac:spMkLst>
            <pc:docMk/>
            <pc:sldMk cId="810637578" sldId="263"/>
            <ac:spMk id="36" creationId="{61F725B3-72D9-2F4A-317E-CF50B6717014}"/>
          </ac:spMkLst>
        </pc:spChg>
        <pc:spChg chg="mod">
          <ac:chgData name="Farha Shireen" userId="K9hHn9oINz5vZ9EtNhWdkbocU8fYfQRPeYvfmnVYJ7Q=" providerId="None" clId="Web-{7D8D3006-E414-4B50-B6CC-D3DC91FF13EA}" dt="2025-03-29T21:08:59.546" v="70" actId="1076"/>
          <ac:spMkLst>
            <pc:docMk/>
            <pc:sldMk cId="810637578" sldId="263"/>
            <ac:spMk id="38" creationId="{8E5015FF-F211-562D-8964-40A7D926CFF2}"/>
          </ac:spMkLst>
        </pc:spChg>
        <pc:spChg chg="mod">
          <ac:chgData name="Farha Shireen" userId="K9hHn9oINz5vZ9EtNhWdkbocU8fYfQRPeYvfmnVYJ7Q=" providerId="None" clId="Web-{7D8D3006-E414-4B50-B6CC-D3DC91FF13EA}" dt="2025-03-29T21:09:00.140" v="73" actId="1076"/>
          <ac:spMkLst>
            <pc:docMk/>
            <pc:sldMk cId="810637578" sldId="263"/>
            <ac:spMk id="42" creationId="{AB35A3B5-8C6B-4D74-B51E-09AEEAB2B56B}"/>
          </ac:spMkLst>
        </pc:spChg>
        <pc:spChg chg="mod">
          <ac:chgData name="Farha Shireen" userId="K9hHn9oINz5vZ9EtNhWdkbocU8fYfQRPeYvfmnVYJ7Q=" providerId="None" clId="Web-{7D8D3006-E414-4B50-B6CC-D3DC91FF13EA}" dt="2025-03-29T21:08:59.749" v="71" actId="1076"/>
          <ac:spMkLst>
            <pc:docMk/>
            <pc:sldMk cId="810637578" sldId="263"/>
            <ac:spMk id="43" creationId="{8AF17DBA-7AFC-10E1-F1C6-FCC2122CC960}"/>
          </ac:spMkLst>
        </pc:spChg>
        <pc:spChg chg="mod">
          <ac:chgData name="Farha Shireen" userId="K9hHn9oINz5vZ9EtNhWdkbocU8fYfQRPeYvfmnVYJ7Q=" providerId="None" clId="Web-{7D8D3006-E414-4B50-B6CC-D3DC91FF13EA}" dt="2025-03-29T21:08:27.296" v="27" actId="1076"/>
          <ac:spMkLst>
            <pc:docMk/>
            <pc:sldMk cId="810637578" sldId="263"/>
            <ac:spMk id="44" creationId="{F3358298-A61B-585C-693F-B9E05EA84E2B}"/>
          </ac:spMkLst>
        </pc:spChg>
        <pc:spChg chg="mod">
          <ac:chgData name="Farha Shireen" userId="K9hHn9oINz5vZ9EtNhWdkbocU8fYfQRPeYvfmnVYJ7Q=" providerId="None" clId="Web-{7D8D3006-E414-4B50-B6CC-D3DC91FF13EA}" dt="2025-03-29T21:08:59.937" v="72" actId="1076"/>
          <ac:spMkLst>
            <pc:docMk/>
            <pc:sldMk cId="810637578" sldId="263"/>
            <ac:spMk id="45" creationId="{5F69154B-9145-BDC6-96D4-3D313DBD9140}"/>
          </ac:spMkLst>
        </pc:spChg>
        <pc:spChg chg="mod">
          <ac:chgData name="Farha Shireen" userId="K9hHn9oINz5vZ9EtNhWdkbocU8fYfQRPeYvfmnVYJ7Q=" providerId="None" clId="Web-{7D8D3006-E414-4B50-B6CC-D3DC91FF13EA}" dt="2025-03-29T21:10:11.233" v="103" actId="1076"/>
          <ac:spMkLst>
            <pc:docMk/>
            <pc:sldMk cId="810637578" sldId="263"/>
            <ac:spMk id="46" creationId="{128408B0-2E53-67DC-0B76-B79941F975F2}"/>
          </ac:spMkLst>
        </pc:spChg>
        <pc:spChg chg="mod">
          <ac:chgData name="Farha Shireen" userId="K9hHn9oINz5vZ9EtNhWdkbocU8fYfQRPeYvfmnVYJ7Q=" providerId="None" clId="Web-{7D8D3006-E414-4B50-B6CC-D3DC91FF13EA}" dt="2025-03-29T21:54:43.159" v="370" actId="20577"/>
          <ac:spMkLst>
            <pc:docMk/>
            <pc:sldMk cId="810637578" sldId="263"/>
            <ac:spMk id="47" creationId="{07E0DD1A-7B39-59B9-3A3A-EA3C42D7D74A}"/>
          </ac:spMkLst>
        </pc:spChg>
        <pc:spChg chg="mod">
          <ac:chgData name="Farha Shireen" userId="K9hHn9oINz5vZ9EtNhWdkbocU8fYfQRPeYvfmnVYJ7Q=" providerId="None" clId="Web-{7D8D3006-E414-4B50-B6CC-D3DC91FF13EA}" dt="2025-03-29T21:56:24.674" v="372" actId="1076"/>
          <ac:spMkLst>
            <pc:docMk/>
            <pc:sldMk cId="810637578" sldId="263"/>
            <ac:spMk id="50" creationId="{BAC9CA12-09CF-9DCF-28D3-F6E0885417D0}"/>
          </ac:spMkLst>
        </pc:spChg>
        <pc:spChg chg="mod">
          <ac:chgData name="Farha Shireen" userId="K9hHn9oINz5vZ9EtNhWdkbocU8fYfQRPeYvfmnVYJ7Q=" providerId="None" clId="Web-{7D8D3006-E414-4B50-B6CC-D3DC91FF13EA}" dt="2025-03-29T21:10:11.608" v="105" actId="1076"/>
          <ac:spMkLst>
            <pc:docMk/>
            <pc:sldMk cId="810637578" sldId="263"/>
            <ac:spMk id="51" creationId="{D60EAE86-D34C-9612-FF86-85375F86FD4F}"/>
          </ac:spMkLst>
        </pc:spChg>
        <pc:spChg chg="mod">
          <ac:chgData name="Farha Shireen" userId="K9hHn9oINz5vZ9EtNhWdkbocU8fYfQRPeYvfmnVYJ7Q=" providerId="None" clId="Web-{7D8D3006-E414-4B50-B6CC-D3DC91FF13EA}" dt="2025-03-29T21:08:33.437" v="28" actId="1076"/>
          <ac:spMkLst>
            <pc:docMk/>
            <pc:sldMk cId="810637578" sldId="263"/>
            <ac:spMk id="52" creationId="{8EEC4C13-5D83-4B2A-C1AF-78E482124E2E}"/>
          </ac:spMkLst>
        </pc:spChg>
        <pc:spChg chg="mod">
          <ac:chgData name="Farha Shireen" userId="K9hHn9oINz5vZ9EtNhWdkbocU8fYfQRPeYvfmnVYJ7Q=" providerId="None" clId="Web-{7D8D3006-E414-4B50-B6CC-D3DC91FF13EA}" dt="2025-03-29T21:46:09.832" v="342" actId="1076"/>
          <ac:spMkLst>
            <pc:docMk/>
            <pc:sldMk cId="810637578" sldId="263"/>
            <ac:spMk id="60" creationId="{61CC4148-BB21-3F7A-C597-9DC07E32875D}"/>
          </ac:spMkLst>
        </pc:spChg>
        <pc:spChg chg="mod">
          <ac:chgData name="Farha Shireen" userId="K9hHn9oINz5vZ9EtNhWdkbocU8fYfQRPeYvfmnVYJ7Q=" providerId="None" clId="Web-{7D8D3006-E414-4B50-B6CC-D3DC91FF13EA}" dt="2025-03-29T21:57:14.049" v="375" actId="1076"/>
          <ac:spMkLst>
            <pc:docMk/>
            <pc:sldMk cId="810637578" sldId="263"/>
            <ac:spMk id="66" creationId="{40E89E01-E3E4-9733-0C89-9A0C3565116C}"/>
          </ac:spMkLst>
        </pc:spChg>
        <pc:spChg chg="mod">
          <ac:chgData name="Farha Shireen" userId="K9hHn9oINz5vZ9EtNhWdkbocU8fYfQRPeYvfmnVYJ7Q=" providerId="None" clId="Web-{7D8D3006-E414-4B50-B6CC-D3DC91FF13EA}" dt="2025-03-29T21:57:07.174" v="374" actId="1076"/>
          <ac:spMkLst>
            <pc:docMk/>
            <pc:sldMk cId="810637578" sldId="263"/>
            <ac:spMk id="69" creationId="{776AF60B-BFA5-9759-BCD1-2B2694CCF0E5}"/>
          </ac:spMkLst>
        </pc:spChg>
        <pc:spChg chg="mod">
          <ac:chgData name="Farha Shireen" userId="K9hHn9oINz5vZ9EtNhWdkbocU8fYfQRPeYvfmnVYJ7Q=" providerId="None" clId="Web-{7D8D3006-E414-4B50-B6CC-D3DC91FF13EA}" dt="2025-03-29T21:31:49.100" v="179" actId="1076"/>
          <ac:spMkLst>
            <pc:docMk/>
            <pc:sldMk cId="810637578" sldId="263"/>
            <ac:spMk id="73" creationId="{3F8DD11A-504B-5C66-CB28-E18A86297C80}"/>
          </ac:spMkLst>
        </pc:spChg>
        <pc:spChg chg="mod">
          <ac:chgData name="Farha Shireen" userId="K9hHn9oINz5vZ9EtNhWdkbocU8fYfQRPeYvfmnVYJ7Q=" providerId="None" clId="Web-{7D8D3006-E414-4B50-B6CC-D3DC91FF13EA}" dt="2025-03-29T21:32:17.772" v="230" actId="1076"/>
          <ac:spMkLst>
            <pc:docMk/>
            <pc:sldMk cId="810637578" sldId="263"/>
            <ac:spMk id="74" creationId="{B3C92025-B1C2-DE05-55FF-4193F0FAA7E6}"/>
          </ac:spMkLst>
        </pc:spChg>
        <pc:spChg chg="mod">
          <ac:chgData name="Farha Shireen" userId="K9hHn9oINz5vZ9EtNhWdkbocU8fYfQRPeYvfmnVYJ7Q=" providerId="None" clId="Web-{7D8D3006-E414-4B50-B6CC-D3DC91FF13EA}" dt="2025-03-29T21:32:21.210" v="248" actId="1076"/>
          <ac:spMkLst>
            <pc:docMk/>
            <pc:sldMk cId="810637578" sldId="263"/>
            <ac:spMk id="79" creationId="{C2F0ECF5-FB8F-5F42-9F59-A78A6D3945A6}"/>
          </ac:spMkLst>
        </pc:spChg>
        <pc:spChg chg="mod">
          <ac:chgData name="Farha Shireen" userId="K9hHn9oINz5vZ9EtNhWdkbocU8fYfQRPeYvfmnVYJ7Q=" providerId="None" clId="Web-{7D8D3006-E414-4B50-B6CC-D3DC91FF13EA}" dt="2025-03-29T21:57:21.065" v="376" actId="1076"/>
          <ac:spMkLst>
            <pc:docMk/>
            <pc:sldMk cId="810637578" sldId="263"/>
            <ac:spMk id="80" creationId="{3848FF21-25C9-A6EE-D357-B1A2FA8D400F}"/>
          </ac:spMkLst>
        </pc:spChg>
        <pc:spChg chg="mod">
          <ac:chgData name="Farha Shireen" userId="K9hHn9oINz5vZ9EtNhWdkbocU8fYfQRPeYvfmnVYJ7Q=" providerId="None" clId="Web-{7D8D3006-E414-4B50-B6CC-D3DC91FF13EA}" dt="2025-03-29T21:52:34.987" v="355" actId="1076"/>
          <ac:spMkLst>
            <pc:docMk/>
            <pc:sldMk cId="810637578" sldId="263"/>
            <ac:spMk id="81" creationId="{736A3F39-55EC-EE46-2D7A-20EBB6F3C7C8}"/>
          </ac:spMkLst>
        </pc:spChg>
        <pc:spChg chg="mod">
          <ac:chgData name="Farha Shireen" userId="K9hHn9oINz5vZ9EtNhWdkbocU8fYfQRPeYvfmnVYJ7Q=" providerId="None" clId="Web-{7D8D3006-E414-4B50-B6CC-D3DC91FF13EA}" dt="2025-03-29T21:45:01.911" v="337" actId="1076"/>
          <ac:spMkLst>
            <pc:docMk/>
            <pc:sldMk cId="810637578" sldId="263"/>
            <ac:spMk id="82" creationId="{7AED0D8C-11EB-0BD7-B0E0-03617FA8F4DE}"/>
          </ac:spMkLst>
        </pc:spChg>
        <pc:spChg chg="mod">
          <ac:chgData name="Farha Shireen" userId="K9hHn9oINz5vZ9EtNhWdkbocU8fYfQRPeYvfmnVYJ7Q=" providerId="None" clId="Web-{7D8D3006-E414-4B50-B6CC-D3DC91FF13EA}" dt="2025-03-29T21:43:19.755" v="328" actId="1076"/>
          <ac:spMkLst>
            <pc:docMk/>
            <pc:sldMk cId="810637578" sldId="263"/>
            <ac:spMk id="83" creationId="{291E2FCA-7C17-9003-AC5D-0120F795D69F}"/>
          </ac:spMkLst>
        </pc:spChg>
        <pc:spChg chg="mod">
          <ac:chgData name="Farha Shireen" userId="K9hHn9oINz5vZ9EtNhWdkbocU8fYfQRPeYvfmnVYJ7Q=" providerId="None" clId="Web-{7D8D3006-E414-4B50-B6CC-D3DC91FF13EA}" dt="2025-03-29T21:14:17.030" v="124" actId="20577"/>
          <ac:spMkLst>
            <pc:docMk/>
            <pc:sldMk cId="810637578" sldId="263"/>
            <ac:spMk id="87" creationId="{8CCB822F-761C-CC27-87F8-029A1489A5EA}"/>
          </ac:spMkLst>
        </pc:spChg>
        <pc:spChg chg="mod">
          <ac:chgData name="Farha Shireen" userId="K9hHn9oINz5vZ9EtNhWdkbocU8fYfQRPeYvfmnVYJ7Q=" providerId="None" clId="Web-{7D8D3006-E414-4B50-B6CC-D3DC91FF13EA}" dt="2025-03-29T21:49:22.175" v="349" actId="1076"/>
          <ac:spMkLst>
            <pc:docMk/>
            <pc:sldMk cId="810637578" sldId="263"/>
            <ac:spMk id="93" creationId="{0A6C5382-6321-4B46-5C49-6CFFA28977A1}"/>
          </ac:spMkLst>
        </pc:spChg>
        <pc:spChg chg="mod">
          <ac:chgData name="Farha Shireen" userId="K9hHn9oINz5vZ9EtNhWdkbocU8fYfQRPeYvfmnVYJ7Q=" providerId="None" clId="Web-{7D8D3006-E414-4B50-B6CC-D3DC91FF13EA}" dt="2025-03-29T21:43:53.754" v="332" actId="1076"/>
          <ac:spMkLst>
            <pc:docMk/>
            <pc:sldMk cId="810637578" sldId="263"/>
            <ac:spMk id="94" creationId="{B9BE0AB6-7F02-7264-3DFC-5AD230AB5F76}"/>
          </ac:spMkLst>
        </pc:spChg>
        <pc:spChg chg="mod">
          <ac:chgData name="Farha Shireen" userId="K9hHn9oINz5vZ9EtNhWdkbocU8fYfQRPeYvfmnVYJ7Q=" providerId="None" clId="Web-{7D8D3006-E414-4B50-B6CC-D3DC91FF13EA}" dt="2025-03-29T21:58:45.408" v="384" actId="1076"/>
          <ac:spMkLst>
            <pc:docMk/>
            <pc:sldMk cId="810637578" sldId="263"/>
            <ac:spMk id="95" creationId="{F61DC495-FD95-4496-2A52-6475112782E4}"/>
          </ac:spMkLst>
        </pc:spChg>
        <pc:spChg chg="mod">
          <ac:chgData name="Farha Shireen" userId="K9hHn9oINz5vZ9EtNhWdkbocU8fYfQRPeYvfmnVYJ7Q=" providerId="None" clId="Web-{7D8D3006-E414-4B50-B6CC-D3DC91FF13EA}" dt="2025-03-29T21:58:45.596" v="385" actId="1076"/>
          <ac:spMkLst>
            <pc:docMk/>
            <pc:sldMk cId="810637578" sldId="263"/>
            <ac:spMk id="97" creationId="{9E55A492-F3A5-C73F-234E-3EF9E05E5138}"/>
          </ac:spMkLst>
        </pc:spChg>
        <pc:spChg chg="mod">
          <ac:chgData name="Farha Shireen" userId="K9hHn9oINz5vZ9EtNhWdkbocU8fYfQRPeYvfmnVYJ7Q=" providerId="None" clId="Web-{7D8D3006-E414-4B50-B6CC-D3DC91FF13EA}" dt="2025-03-29T21:59:07.033" v="397" actId="1076"/>
          <ac:spMkLst>
            <pc:docMk/>
            <pc:sldMk cId="810637578" sldId="263"/>
            <ac:spMk id="100" creationId="{62081406-995D-5EA6-5F35-85B29C5A8BBB}"/>
          </ac:spMkLst>
        </pc:spChg>
        <pc:spChg chg="mod">
          <ac:chgData name="Farha Shireen" userId="K9hHn9oINz5vZ9EtNhWdkbocU8fYfQRPeYvfmnVYJ7Q=" providerId="None" clId="Web-{7D8D3006-E414-4B50-B6CC-D3DC91FF13EA}" dt="2025-03-29T21:58:46.158" v="388" actId="1076"/>
          <ac:spMkLst>
            <pc:docMk/>
            <pc:sldMk cId="810637578" sldId="263"/>
            <ac:spMk id="101" creationId="{87CBA8BC-A722-12D2-D73B-A76A5DC56B8C}"/>
          </ac:spMkLst>
        </pc:spChg>
        <pc:spChg chg="mod">
          <ac:chgData name="Farha Shireen" userId="K9hHn9oINz5vZ9EtNhWdkbocU8fYfQRPeYvfmnVYJ7Q=" providerId="None" clId="Web-{7D8D3006-E414-4B50-B6CC-D3DC91FF13EA}" dt="2025-03-29T21:58:46.346" v="389" actId="1076"/>
          <ac:spMkLst>
            <pc:docMk/>
            <pc:sldMk cId="810637578" sldId="263"/>
            <ac:spMk id="102" creationId="{6747F563-CC30-1FD6-35F9-1FB24DF40920}"/>
          </ac:spMkLst>
        </pc:spChg>
        <pc:spChg chg="mod">
          <ac:chgData name="Farha Shireen" userId="K9hHn9oINz5vZ9EtNhWdkbocU8fYfQRPeYvfmnVYJ7Q=" providerId="None" clId="Web-{7D8D3006-E414-4B50-B6CC-D3DC91FF13EA}" dt="2025-03-29T21:46:00.613" v="341" actId="1076"/>
          <ac:spMkLst>
            <pc:docMk/>
            <pc:sldMk cId="810637578" sldId="263"/>
            <ac:spMk id="103" creationId="{714B413B-18F0-E1B8-CE3F-373315363887}"/>
          </ac:spMkLst>
        </pc:spChg>
        <pc:spChg chg="mod">
          <ac:chgData name="Farha Shireen" userId="K9hHn9oINz5vZ9EtNhWdkbocU8fYfQRPeYvfmnVYJ7Q=" providerId="None" clId="Web-{7D8D3006-E414-4B50-B6CC-D3DC91FF13EA}" dt="2025-03-29T21:28:05.147" v="169" actId="20577"/>
          <ac:spMkLst>
            <pc:docMk/>
            <pc:sldMk cId="810637578" sldId="263"/>
            <ac:spMk id="105" creationId="{F3F38A43-0A4B-88AD-6539-02458E1CB45C}"/>
          </ac:spMkLst>
        </pc:spChg>
        <pc:spChg chg="mod">
          <ac:chgData name="Farha Shireen" userId="K9hHn9oINz5vZ9EtNhWdkbocU8fYfQRPeYvfmnVYJ7Q=" providerId="None" clId="Web-{7D8D3006-E414-4B50-B6CC-D3DC91FF13EA}" dt="2025-03-29T21:50:16.613" v="351" actId="1076"/>
          <ac:spMkLst>
            <pc:docMk/>
            <pc:sldMk cId="810637578" sldId="263"/>
            <ac:spMk id="106" creationId="{9C71C168-F78F-D512-FE12-4A0575D8FD56}"/>
          </ac:spMkLst>
        </pc:spChg>
        <pc:spChg chg="mod">
          <ac:chgData name="Farha Shireen" userId="K9hHn9oINz5vZ9EtNhWdkbocU8fYfQRPeYvfmnVYJ7Q=" providerId="None" clId="Web-{7D8D3006-E414-4B50-B6CC-D3DC91FF13EA}" dt="2025-03-29T21:50:24.128" v="352" actId="1076"/>
          <ac:spMkLst>
            <pc:docMk/>
            <pc:sldMk cId="810637578" sldId="263"/>
            <ac:spMk id="107" creationId="{EB9A831C-D977-1EE7-2F6C-B58C2FD1B355}"/>
          </ac:spMkLst>
        </pc:spChg>
        <pc:spChg chg="mod">
          <ac:chgData name="Farha Shireen" userId="K9hHn9oINz5vZ9EtNhWdkbocU8fYfQRPeYvfmnVYJ7Q=" providerId="None" clId="Web-{7D8D3006-E414-4B50-B6CC-D3DC91FF13EA}" dt="2025-03-29T21:32:17.960" v="231" actId="1076"/>
          <ac:spMkLst>
            <pc:docMk/>
            <pc:sldMk cId="810637578" sldId="263"/>
            <ac:spMk id="108" creationId="{EB60DA79-98D9-455B-C0D6-1BF683D29B67}"/>
          </ac:spMkLst>
        </pc:spChg>
        <pc:spChg chg="mod">
          <ac:chgData name="Farha Shireen" userId="K9hHn9oINz5vZ9EtNhWdkbocU8fYfQRPeYvfmnVYJ7Q=" providerId="None" clId="Web-{7D8D3006-E414-4B50-B6CC-D3DC91FF13EA}" dt="2025-03-29T21:44:02.067" v="333" actId="1076"/>
          <ac:spMkLst>
            <pc:docMk/>
            <pc:sldMk cId="810637578" sldId="263"/>
            <ac:spMk id="110" creationId="{A96DFA2A-AD02-06B6-8283-C65D12DC2FE0}"/>
          </ac:spMkLst>
        </pc:spChg>
        <pc:spChg chg="mod">
          <ac:chgData name="Farha Shireen" userId="K9hHn9oINz5vZ9EtNhWdkbocU8fYfQRPeYvfmnVYJ7Q=" providerId="None" clId="Web-{7D8D3006-E414-4B50-B6CC-D3DC91FF13EA}" dt="2025-03-29T21:43:12.801" v="327" actId="1076"/>
          <ac:spMkLst>
            <pc:docMk/>
            <pc:sldMk cId="810637578" sldId="263"/>
            <ac:spMk id="111" creationId="{9D02A781-2653-3BA5-3688-790B147C0918}"/>
          </ac:spMkLst>
        </pc:spChg>
        <pc:spChg chg="mod">
          <ac:chgData name="Farha Shireen" userId="K9hHn9oINz5vZ9EtNhWdkbocU8fYfQRPeYvfmnVYJ7Q=" providerId="None" clId="Web-{7D8D3006-E414-4B50-B6CC-D3DC91FF13EA}" dt="2025-03-29T21:42:00.552" v="318" actId="1076"/>
          <ac:spMkLst>
            <pc:docMk/>
            <pc:sldMk cId="810637578" sldId="263"/>
            <ac:spMk id="115" creationId="{B9659D5E-9329-8C4D-19AA-2F3B70CA831A}"/>
          </ac:spMkLst>
        </pc:spChg>
        <pc:spChg chg="mod">
          <ac:chgData name="Farha Shireen" userId="K9hHn9oINz5vZ9EtNhWdkbocU8fYfQRPeYvfmnVYJ7Q=" providerId="None" clId="Web-{7D8D3006-E414-4B50-B6CC-D3DC91FF13EA}" dt="2025-03-29T21:32:18.538" v="234" actId="1076"/>
          <ac:spMkLst>
            <pc:docMk/>
            <pc:sldMk cId="810637578" sldId="263"/>
            <ac:spMk id="116" creationId="{A9F259AD-CA66-F76C-A61C-3BC5BA60090A}"/>
          </ac:spMkLst>
        </pc:spChg>
        <pc:spChg chg="mod">
          <ac:chgData name="Farha Shireen" userId="K9hHn9oINz5vZ9EtNhWdkbocU8fYfQRPeYvfmnVYJ7Q=" providerId="None" clId="Web-{7D8D3006-E414-4B50-B6CC-D3DC91FF13EA}" dt="2025-03-29T21:39:06.083" v="286" actId="1076"/>
          <ac:spMkLst>
            <pc:docMk/>
            <pc:sldMk cId="810637578" sldId="263"/>
            <ac:spMk id="117" creationId="{69A1A130-C723-FF80-8C52-4585B88A6FCF}"/>
          </ac:spMkLst>
        </pc:spChg>
        <pc:spChg chg="mod">
          <ac:chgData name="Farha Shireen" userId="K9hHn9oINz5vZ9EtNhWdkbocU8fYfQRPeYvfmnVYJ7Q=" providerId="None" clId="Web-{7D8D3006-E414-4B50-B6CC-D3DC91FF13EA}" dt="2025-03-29T21:32:18.725" v="235" actId="1076"/>
          <ac:spMkLst>
            <pc:docMk/>
            <pc:sldMk cId="810637578" sldId="263"/>
            <ac:spMk id="118" creationId="{3DD98C7D-5EDC-60EB-67A1-41AEE24ED37B}"/>
          </ac:spMkLst>
        </pc:spChg>
        <pc:spChg chg="mod">
          <ac:chgData name="Farha Shireen" userId="K9hHn9oINz5vZ9EtNhWdkbocU8fYfQRPeYvfmnVYJ7Q=" providerId="None" clId="Web-{7D8D3006-E414-4B50-B6CC-D3DC91FF13EA}" dt="2025-03-29T21:32:18.928" v="236" actId="1076"/>
          <ac:spMkLst>
            <pc:docMk/>
            <pc:sldMk cId="810637578" sldId="263"/>
            <ac:spMk id="120" creationId="{5D518FEE-1E32-2924-21B4-CD59FF28FE59}"/>
          </ac:spMkLst>
        </pc:spChg>
        <pc:spChg chg="mod">
          <ac:chgData name="Farha Shireen" userId="K9hHn9oINz5vZ9EtNhWdkbocU8fYfQRPeYvfmnVYJ7Q=" providerId="None" clId="Web-{7D8D3006-E414-4B50-B6CC-D3DC91FF13EA}" dt="2025-03-29T21:32:19.116" v="237" actId="1076"/>
          <ac:spMkLst>
            <pc:docMk/>
            <pc:sldMk cId="810637578" sldId="263"/>
            <ac:spMk id="121" creationId="{D9D25C7C-098D-2C8F-07C2-761BEB269C1A}"/>
          </ac:spMkLst>
        </pc:spChg>
        <pc:spChg chg="mod">
          <ac:chgData name="Farha Shireen" userId="K9hHn9oINz5vZ9EtNhWdkbocU8fYfQRPeYvfmnVYJ7Q=" providerId="None" clId="Web-{7D8D3006-E414-4B50-B6CC-D3DC91FF13EA}" dt="2025-03-29T21:32:19.678" v="240" actId="1076"/>
          <ac:spMkLst>
            <pc:docMk/>
            <pc:sldMk cId="810637578" sldId="263"/>
            <ac:spMk id="129" creationId="{60379B83-44AA-B82F-BAE2-D5004C843B15}"/>
          </ac:spMkLst>
        </pc:spChg>
        <pc:spChg chg="mod">
          <ac:chgData name="Farha Shireen" userId="K9hHn9oINz5vZ9EtNhWdkbocU8fYfQRPeYvfmnVYJ7Q=" providerId="None" clId="Web-{7D8D3006-E414-4B50-B6CC-D3DC91FF13EA}" dt="2025-03-29T21:32:19.866" v="241" actId="1076"/>
          <ac:spMkLst>
            <pc:docMk/>
            <pc:sldMk cId="810637578" sldId="263"/>
            <ac:spMk id="130" creationId="{6BF3D9FB-CFA2-2870-3919-9B65C3D7C247}"/>
          </ac:spMkLst>
        </pc:spChg>
        <pc:spChg chg="mod">
          <ac:chgData name="Farha Shireen" userId="K9hHn9oINz5vZ9EtNhWdkbocU8fYfQRPeYvfmnVYJ7Q=" providerId="None" clId="Web-{7D8D3006-E414-4B50-B6CC-D3DC91FF13EA}" dt="2025-03-29T21:32:20.053" v="242" actId="1076"/>
          <ac:spMkLst>
            <pc:docMk/>
            <pc:sldMk cId="810637578" sldId="263"/>
            <ac:spMk id="131" creationId="{819F5578-C28C-FF3C-FBF1-7515909356F6}"/>
          </ac:spMkLst>
        </pc:spChg>
        <pc:spChg chg="mod">
          <ac:chgData name="Farha Shireen" userId="K9hHn9oINz5vZ9EtNhWdkbocU8fYfQRPeYvfmnVYJ7Q=" providerId="None" clId="Web-{7D8D3006-E414-4B50-B6CC-D3DC91FF13EA}" dt="2025-03-29T21:39:22.115" v="287" actId="1076"/>
          <ac:spMkLst>
            <pc:docMk/>
            <pc:sldMk cId="810637578" sldId="263"/>
            <ac:spMk id="132" creationId="{75DCE009-7AEF-AAAA-D49D-6B36D9754678}"/>
          </ac:spMkLst>
        </pc:spChg>
        <pc:spChg chg="mod">
          <ac:chgData name="Farha Shireen" userId="K9hHn9oINz5vZ9EtNhWdkbocU8fYfQRPeYvfmnVYJ7Q=" providerId="None" clId="Web-{7D8D3006-E414-4B50-B6CC-D3DC91FF13EA}" dt="2025-03-29T21:32:20.241" v="243" actId="1076"/>
          <ac:spMkLst>
            <pc:docMk/>
            <pc:sldMk cId="810637578" sldId="263"/>
            <ac:spMk id="133" creationId="{C4A6260A-6D48-7FD6-FB55-32BA221F86C1}"/>
          </ac:spMkLst>
        </pc:spChg>
        <pc:spChg chg="mod">
          <ac:chgData name="Farha Shireen" userId="K9hHn9oINz5vZ9EtNhWdkbocU8fYfQRPeYvfmnVYJ7Q=" providerId="None" clId="Web-{7D8D3006-E414-4B50-B6CC-D3DC91FF13EA}" dt="2025-03-29T21:32:20.428" v="244" actId="1076"/>
          <ac:spMkLst>
            <pc:docMk/>
            <pc:sldMk cId="810637578" sldId="263"/>
            <ac:spMk id="134" creationId="{16139CE1-6FBC-0EB4-DE69-B920371AB29C}"/>
          </ac:spMkLst>
        </pc:spChg>
        <pc:spChg chg="mod">
          <ac:chgData name="Farha Shireen" userId="K9hHn9oINz5vZ9EtNhWdkbocU8fYfQRPeYvfmnVYJ7Q=" providerId="None" clId="Web-{7D8D3006-E414-4B50-B6CC-D3DC91FF13EA}" dt="2025-03-29T21:11:13.718" v="114" actId="1076"/>
          <ac:spMkLst>
            <pc:docMk/>
            <pc:sldMk cId="810637578" sldId="263"/>
            <ac:spMk id="144" creationId="{7A944E77-0F91-A2B8-D59F-8AACC1B5F480}"/>
          </ac:spMkLst>
        </pc:spChg>
        <pc:spChg chg="mod">
          <ac:chgData name="Farha Shireen" userId="K9hHn9oINz5vZ9EtNhWdkbocU8fYfQRPeYvfmnVYJ7Q=" providerId="None" clId="Web-{7D8D3006-E414-4B50-B6CC-D3DC91FF13EA}" dt="2025-03-29T21:44:15.895" v="334" actId="1076"/>
          <ac:spMkLst>
            <pc:docMk/>
            <pc:sldMk cId="810637578" sldId="263"/>
            <ac:spMk id="163" creationId="{89E3A2E5-64DA-8C84-6BF6-57AA66EA5FFD}"/>
          </ac:spMkLst>
        </pc:spChg>
        <pc:spChg chg="mod">
          <ac:chgData name="Farha Shireen" userId="K9hHn9oINz5vZ9EtNhWdkbocU8fYfQRPeYvfmnVYJ7Q=" providerId="None" clId="Web-{7D8D3006-E414-4B50-B6CC-D3DC91FF13EA}" dt="2025-03-29T22:10:15.126" v="406" actId="1076"/>
          <ac:spMkLst>
            <pc:docMk/>
            <pc:sldMk cId="810637578" sldId="263"/>
            <ac:spMk id="164" creationId="{D5027268-7BA0-2914-80E5-EFA12C070FAA}"/>
          </ac:spMkLst>
        </pc:spChg>
        <pc:spChg chg="mod">
          <ac:chgData name="Farha Shireen" userId="K9hHn9oINz5vZ9EtNhWdkbocU8fYfQRPeYvfmnVYJ7Q=" providerId="None" clId="Web-{7D8D3006-E414-4B50-B6CC-D3DC91FF13EA}" dt="2025-03-29T21:58:18.408" v="382" actId="20577"/>
          <ac:spMkLst>
            <pc:docMk/>
            <pc:sldMk cId="810637578" sldId="263"/>
            <ac:spMk id="165" creationId="{31E6C983-B6FD-0DE9-A969-DE3BED07D95B}"/>
          </ac:spMkLst>
        </pc:spChg>
        <pc:spChg chg="mod">
          <ac:chgData name="Farha Shireen" userId="K9hHn9oINz5vZ9EtNhWdkbocU8fYfQRPeYvfmnVYJ7Q=" providerId="None" clId="Web-{7D8D3006-E414-4B50-B6CC-D3DC91FF13EA}" dt="2025-03-29T21:59:16.471" v="400" actId="1076"/>
          <ac:spMkLst>
            <pc:docMk/>
            <pc:sldMk cId="810637578" sldId="263"/>
            <ac:spMk id="167" creationId="{23FF0565-68F2-DB31-A2FA-C5157DD6C805}"/>
          </ac:spMkLst>
        </pc:spChg>
        <pc:graphicFrameChg chg="mod">
          <ac:chgData name="Farha Shireen" userId="K9hHn9oINz5vZ9EtNhWdkbocU8fYfQRPeYvfmnVYJ7Q=" providerId="None" clId="Web-{7D8D3006-E414-4B50-B6CC-D3DC91FF13EA}" dt="2025-03-29T21:41:38.052" v="317" actId="1076"/>
          <ac:graphicFrameMkLst>
            <pc:docMk/>
            <pc:sldMk cId="810637578" sldId="263"/>
            <ac:graphicFrameMk id="24" creationId="{7274279B-F42A-9AD0-943B-BBB4F1D0EF0B}"/>
          </ac:graphicFrameMkLst>
        </pc:graphicFrameChg>
        <pc:graphicFrameChg chg="mod">
          <ac:chgData name="Farha Shireen" userId="K9hHn9oINz5vZ9EtNhWdkbocU8fYfQRPeYvfmnVYJ7Q=" providerId="None" clId="Web-{7D8D3006-E414-4B50-B6CC-D3DC91FF13EA}" dt="2025-03-29T22:00:25.127" v="405" actId="1076"/>
          <ac:graphicFrameMkLst>
            <pc:docMk/>
            <pc:sldMk cId="810637578" sldId="263"/>
            <ac:graphicFrameMk id="169" creationId="{B168E9E6-D886-54D2-1CE9-C59A966370A2}"/>
          </ac:graphicFrameMkLst>
        </pc:graphicFrameChg>
        <pc:picChg chg="mod">
          <ac:chgData name="Farha Shireen" userId="K9hHn9oINz5vZ9EtNhWdkbocU8fYfQRPeYvfmnVYJ7Q=" providerId="None" clId="Web-{7D8D3006-E414-4B50-B6CC-D3DC91FF13EA}" dt="2025-03-29T21:52:26.519" v="354" actId="1076"/>
          <ac:picMkLst>
            <pc:docMk/>
            <pc:sldMk cId="810637578" sldId="263"/>
            <ac:picMk id="14" creationId="{1548A0EE-44D8-5FCD-226A-27421ECD7486}"/>
          </ac:picMkLst>
        </pc:picChg>
        <pc:picChg chg="mod">
          <ac:chgData name="Farha Shireen" userId="K9hHn9oINz5vZ9EtNhWdkbocU8fYfQRPeYvfmnVYJ7Q=" providerId="None" clId="Web-{7D8D3006-E414-4B50-B6CC-D3DC91FF13EA}" dt="2025-03-29T21:08:57.984" v="62" actId="1076"/>
          <ac:picMkLst>
            <pc:docMk/>
            <pc:sldMk cId="810637578" sldId="263"/>
            <ac:picMk id="16" creationId="{0625277F-6D8C-8DFF-9705-C4FABB0C845A}"/>
          </ac:picMkLst>
        </pc:picChg>
        <pc:picChg chg="mod">
          <ac:chgData name="Farha Shireen" userId="K9hHn9oINz5vZ9EtNhWdkbocU8fYfQRPeYvfmnVYJ7Q=" providerId="None" clId="Web-{7D8D3006-E414-4B50-B6CC-D3DC91FF13EA}" dt="2025-03-29T21:08:58.359" v="64" actId="1076"/>
          <ac:picMkLst>
            <pc:docMk/>
            <pc:sldMk cId="810637578" sldId="263"/>
            <ac:picMk id="28" creationId="{F8F74898-DD82-7EBE-304E-9C8EEDC013C6}"/>
          </ac:picMkLst>
        </pc:picChg>
        <pc:picChg chg="mod">
          <ac:chgData name="Farha Shireen" userId="K9hHn9oINz5vZ9EtNhWdkbocU8fYfQRPeYvfmnVYJ7Q=" providerId="None" clId="Web-{7D8D3006-E414-4B50-B6CC-D3DC91FF13EA}" dt="2025-03-29T21:08:58.171" v="63" actId="1076"/>
          <ac:picMkLst>
            <pc:docMk/>
            <pc:sldMk cId="810637578" sldId="263"/>
            <ac:picMk id="30" creationId="{03E30BE5-B3CB-A039-9301-F5CFE726B255}"/>
          </ac:picMkLst>
        </pc:picChg>
        <pc:picChg chg="mod">
          <ac:chgData name="Farha Shireen" userId="K9hHn9oINz5vZ9EtNhWdkbocU8fYfQRPeYvfmnVYJ7Q=" providerId="None" clId="Web-{7D8D3006-E414-4B50-B6CC-D3DC91FF13EA}" dt="2025-03-29T21:08:59.343" v="69" actId="1076"/>
          <ac:picMkLst>
            <pc:docMk/>
            <pc:sldMk cId="810637578" sldId="263"/>
            <ac:picMk id="34" creationId="{6F317624-54BB-CAB1-F192-71909F611D1B}"/>
          </ac:picMkLst>
        </pc:picChg>
        <pc:picChg chg="mod">
          <ac:chgData name="Farha Shireen" userId="K9hHn9oINz5vZ9EtNhWdkbocU8fYfQRPeYvfmnVYJ7Q=" providerId="None" clId="Web-{7D8D3006-E414-4B50-B6CC-D3DC91FF13EA}" dt="2025-03-29T21:08:58.968" v="67" actId="1076"/>
          <ac:picMkLst>
            <pc:docMk/>
            <pc:sldMk cId="810637578" sldId="263"/>
            <ac:picMk id="37" creationId="{5431A585-6875-16F5-88DB-A9E4E339787C}"/>
          </ac:picMkLst>
        </pc:picChg>
        <pc:cxnChg chg="mod">
          <ac:chgData name="Farha Shireen" userId="K9hHn9oINz5vZ9EtNhWdkbocU8fYfQRPeYvfmnVYJ7Q=" providerId="None" clId="Web-{7D8D3006-E414-4B50-B6CC-D3DC91FF13EA}" dt="2025-03-29T21:57:58.721" v="380" actId="1076"/>
          <ac:cxnSpMkLst>
            <pc:docMk/>
            <pc:sldMk cId="810637578" sldId="263"/>
            <ac:cxnSpMk id="26" creationId="{9E37D577-5CD7-4A5A-323B-6B5FBEDA41A6}"/>
          </ac:cxnSpMkLst>
        </pc:cxnChg>
        <pc:cxnChg chg="mod">
          <ac:chgData name="Farha Shireen" userId="K9hHn9oINz5vZ9EtNhWdkbocU8fYfQRPeYvfmnVYJ7Q=" providerId="None" clId="Web-{7D8D3006-E414-4B50-B6CC-D3DC91FF13EA}" dt="2025-03-29T21:58:46.924" v="392" actId="1076"/>
          <ac:cxnSpMkLst>
            <pc:docMk/>
            <pc:sldMk cId="810637578" sldId="263"/>
            <ac:cxnSpMk id="39" creationId="{19A3E57F-DBD2-D119-F06F-2A80BE09D5AA}"/>
          </ac:cxnSpMkLst>
        </pc:cxnChg>
        <pc:cxnChg chg="mod">
          <ac:chgData name="Farha Shireen" userId="K9hHn9oINz5vZ9EtNhWdkbocU8fYfQRPeYvfmnVYJ7Q=" providerId="None" clId="Web-{7D8D3006-E414-4B50-B6CC-D3DC91FF13EA}" dt="2025-03-29T21:10:11.983" v="107" actId="1076"/>
          <ac:cxnSpMkLst>
            <pc:docMk/>
            <pc:sldMk cId="810637578" sldId="263"/>
            <ac:cxnSpMk id="53" creationId="{52ED3DD2-85CF-8C89-45DB-46A78137575D}"/>
          </ac:cxnSpMkLst>
        </pc:cxnChg>
        <pc:cxnChg chg="mod">
          <ac:chgData name="Farha Shireen" userId="K9hHn9oINz5vZ9EtNhWdkbocU8fYfQRPeYvfmnVYJ7Q=" providerId="None" clId="Web-{7D8D3006-E414-4B50-B6CC-D3DC91FF13EA}" dt="2025-03-29T21:10:11.796" v="106" actId="1076"/>
          <ac:cxnSpMkLst>
            <pc:docMk/>
            <pc:sldMk cId="810637578" sldId="263"/>
            <ac:cxnSpMk id="55" creationId="{1724909C-7D2F-3B28-6FF4-B3076A59A6A7}"/>
          </ac:cxnSpMkLst>
        </pc:cxnChg>
        <pc:cxnChg chg="mod">
          <ac:chgData name="Farha Shireen" userId="K9hHn9oINz5vZ9EtNhWdkbocU8fYfQRPeYvfmnVYJ7Q=" providerId="None" clId="Web-{7D8D3006-E414-4B50-B6CC-D3DC91FF13EA}" dt="2025-03-29T21:43:27.989" v="329" actId="1076"/>
          <ac:cxnSpMkLst>
            <pc:docMk/>
            <pc:sldMk cId="810637578" sldId="263"/>
            <ac:cxnSpMk id="84" creationId="{E57120C4-47E8-DE15-CDEB-3C9498046445}"/>
          </ac:cxnSpMkLst>
        </pc:cxnChg>
        <pc:cxnChg chg="mod">
          <ac:chgData name="Farha Shireen" userId="K9hHn9oINz5vZ9EtNhWdkbocU8fYfQRPeYvfmnVYJ7Q=" providerId="None" clId="Web-{7D8D3006-E414-4B50-B6CC-D3DC91FF13EA}" dt="2025-03-29T21:32:21.397" v="249" actId="1076"/>
          <ac:cxnSpMkLst>
            <pc:docMk/>
            <pc:sldMk cId="810637578" sldId="263"/>
            <ac:cxnSpMk id="86" creationId="{B4283CBC-6D4F-0230-34BF-98AA25594EF6}"/>
          </ac:cxnSpMkLst>
        </pc:cxnChg>
        <pc:cxnChg chg="mod">
          <ac:chgData name="Farha Shireen" userId="K9hHn9oINz5vZ9EtNhWdkbocU8fYfQRPeYvfmnVYJ7Q=" providerId="None" clId="Web-{7D8D3006-E414-4B50-B6CC-D3DC91FF13EA}" dt="2025-03-29T21:32:21.585" v="250" actId="1076"/>
          <ac:cxnSpMkLst>
            <pc:docMk/>
            <pc:sldMk cId="810637578" sldId="263"/>
            <ac:cxnSpMk id="88" creationId="{541FA767-FE93-EA64-8867-B2C5F8AD6569}"/>
          </ac:cxnSpMkLst>
        </pc:cxnChg>
        <pc:cxnChg chg="mod">
          <ac:chgData name="Farha Shireen" userId="K9hHn9oINz5vZ9EtNhWdkbocU8fYfQRPeYvfmnVYJ7Q=" providerId="None" clId="Web-{7D8D3006-E414-4B50-B6CC-D3DC91FF13EA}" dt="2025-03-29T21:39:01.443" v="285" actId="1076"/>
          <ac:cxnSpMkLst>
            <pc:docMk/>
            <pc:sldMk cId="810637578" sldId="263"/>
            <ac:cxnSpMk id="89" creationId="{1B8F2005-15ED-EF1F-E731-59B591DA931F}"/>
          </ac:cxnSpMkLst>
        </pc:cxnChg>
        <pc:cxnChg chg="mod">
          <ac:chgData name="Farha Shireen" userId="K9hHn9oINz5vZ9EtNhWdkbocU8fYfQRPeYvfmnVYJ7Q=" providerId="None" clId="Web-{7D8D3006-E414-4B50-B6CC-D3DC91FF13EA}" dt="2025-03-29T21:32:21.788" v="251" actId="1076"/>
          <ac:cxnSpMkLst>
            <pc:docMk/>
            <pc:sldMk cId="810637578" sldId="263"/>
            <ac:cxnSpMk id="90" creationId="{0AA764BC-04FD-0360-B559-95F6FF979942}"/>
          </ac:cxnSpMkLst>
        </pc:cxnChg>
        <pc:cxnChg chg="mod">
          <ac:chgData name="Farha Shireen" userId="K9hHn9oINz5vZ9EtNhWdkbocU8fYfQRPeYvfmnVYJ7Q=" providerId="None" clId="Web-{7D8D3006-E414-4B50-B6CC-D3DC91FF13EA}" dt="2025-03-29T21:32:21.975" v="252" actId="1076"/>
          <ac:cxnSpMkLst>
            <pc:docMk/>
            <pc:sldMk cId="810637578" sldId="263"/>
            <ac:cxnSpMk id="91" creationId="{587E658E-AD18-AA8C-07F0-9EEEF79B4E0C}"/>
          </ac:cxnSpMkLst>
        </pc:cxnChg>
        <pc:cxnChg chg="mod">
          <ac:chgData name="Farha Shireen" userId="K9hHn9oINz5vZ9EtNhWdkbocU8fYfQRPeYvfmnVYJ7Q=" providerId="None" clId="Web-{7D8D3006-E414-4B50-B6CC-D3DC91FF13EA}" dt="2025-03-29T21:58:45.783" v="386" actId="1076"/>
          <ac:cxnSpMkLst>
            <pc:docMk/>
            <pc:sldMk cId="810637578" sldId="263"/>
            <ac:cxnSpMk id="98" creationId="{84687139-8338-8890-0A7C-BF281FAECBCF}"/>
          </ac:cxnSpMkLst>
        </pc:cxnChg>
        <pc:cxnChg chg="mod">
          <ac:chgData name="Farha Shireen" userId="K9hHn9oINz5vZ9EtNhWdkbocU8fYfQRPeYvfmnVYJ7Q=" providerId="None" clId="Web-{7D8D3006-E414-4B50-B6CC-D3DC91FF13EA}" dt="2025-03-29T21:58:45.971" v="387" actId="1076"/>
          <ac:cxnSpMkLst>
            <pc:docMk/>
            <pc:sldMk cId="810637578" sldId="263"/>
            <ac:cxnSpMk id="99" creationId="{9D33DE9D-6226-383D-D2D7-167A3098C3F1}"/>
          </ac:cxnSpMkLst>
        </pc:cxnChg>
        <pc:cxnChg chg="mod">
          <ac:chgData name="Farha Shireen" userId="K9hHn9oINz5vZ9EtNhWdkbocU8fYfQRPeYvfmnVYJ7Q=" providerId="None" clId="Web-{7D8D3006-E414-4B50-B6CC-D3DC91FF13EA}" dt="2025-03-29T21:42:09.317" v="321" actId="1076"/>
          <ac:cxnSpMkLst>
            <pc:docMk/>
            <pc:sldMk cId="810637578" sldId="263"/>
            <ac:cxnSpMk id="112" creationId="{F04EE867-59A4-2182-DEA3-36A1EA703473}"/>
          </ac:cxnSpMkLst>
        </pc:cxnChg>
        <pc:cxnChg chg="mod">
          <ac:chgData name="Farha Shireen" userId="K9hHn9oINz5vZ9EtNhWdkbocU8fYfQRPeYvfmnVYJ7Q=" providerId="None" clId="Web-{7D8D3006-E414-4B50-B6CC-D3DC91FF13EA}" dt="2025-03-29T21:43:44.739" v="331" actId="1076"/>
          <ac:cxnSpMkLst>
            <pc:docMk/>
            <pc:sldMk cId="810637578" sldId="263"/>
            <ac:cxnSpMk id="114" creationId="{DD5F55B4-B28C-7265-C7EA-362D5B1ECF3C}"/>
          </ac:cxnSpMkLst>
        </pc:cxnChg>
        <pc:cxnChg chg="mod">
          <ac:chgData name="Farha Shireen" userId="K9hHn9oINz5vZ9EtNhWdkbocU8fYfQRPeYvfmnVYJ7Q=" providerId="None" clId="Web-{7D8D3006-E414-4B50-B6CC-D3DC91FF13EA}" dt="2025-03-29T21:32:19.303" v="238" actId="1076"/>
          <ac:cxnSpMkLst>
            <pc:docMk/>
            <pc:sldMk cId="810637578" sldId="263"/>
            <ac:cxnSpMk id="122" creationId="{092A37AD-D2B2-A27C-0407-1E96893A3521}"/>
          </ac:cxnSpMkLst>
        </pc:cxnChg>
        <pc:cxnChg chg="mod">
          <ac:chgData name="Farha Shireen" userId="K9hHn9oINz5vZ9EtNhWdkbocU8fYfQRPeYvfmnVYJ7Q=" providerId="None" clId="Web-{7D8D3006-E414-4B50-B6CC-D3DC91FF13EA}" dt="2025-03-29T21:41:26.942" v="316" actId="1076"/>
          <ac:cxnSpMkLst>
            <pc:docMk/>
            <pc:sldMk cId="810637578" sldId="263"/>
            <ac:cxnSpMk id="123" creationId="{36FC00C8-59F4-ACB4-763C-5DAF0D65617A}"/>
          </ac:cxnSpMkLst>
        </pc:cxnChg>
        <pc:cxnChg chg="mod">
          <ac:chgData name="Farha Shireen" userId="K9hHn9oINz5vZ9EtNhWdkbocU8fYfQRPeYvfmnVYJ7Q=" providerId="None" clId="Web-{7D8D3006-E414-4B50-B6CC-D3DC91FF13EA}" dt="2025-03-29T21:32:19.491" v="239" actId="1076"/>
          <ac:cxnSpMkLst>
            <pc:docMk/>
            <pc:sldMk cId="810637578" sldId="263"/>
            <ac:cxnSpMk id="124" creationId="{D5B52A4D-3C69-3AC1-3890-F25949BA3115}"/>
          </ac:cxnSpMkLst>
        </pc:cxnChg>
        <pc:cxnChg chg="mod">
          <ac:chgData name="Farha Shireen" userId="K9hHn9oINz5vZ9EtNhWdkbocU8fYfQRPeYvfmnVYJ7Q=" providerId="None" clId="Web-{7D8D3006-E414-4B50-B6CC-D3DC91FF13EA}" dt="2025-03-29T21:59:07.408" v="399" actId="1076"/>
          <ac:cxnSpMkLst>
            <pc:docMk/>
            <pc:sldMk cId="810637578" sldId="263"/>
            <ac:cxnSpMk id="168" creationId="{65D5AF2F-4977-F93B-53E2-1AAA76B48AA7}"/>
          </ac:cxnSpMkLst>
        </pc:cxnChg>
      </pc:sldChg>
    </pc:docChg>
  </pc:docChgLst>
  <pc:docChgLst>
    <pc:chgData name="Yijun Wang" userId="Of/0Pj+qBr5fypY8jeq4N4QA/9LywGn1V9GniuUBQzk=" providerId="None" clId="Web-{3E1A38BB-3CAC-42C4-B3CB-28E90C4D8F2E}"/>
    <pc:docChg chg="modSld">
      <pc:chgData name="Yijun Wang" userId="Of/0Pj+qBr5fypY8jeq4N4QA/9LywGn1V9GniuUBQzk=" providerId="None" clId="Web-{3E1A38BB-3CAC-42C4-B3CB-28E90C4D8F2E}" dt="2025-04-07T21:35:04.371" v="1" actId="1076"/>
      <pc:docMkLst>
        <pc:docMk/>
      </pc:docMkLst>
      <pc:sldChg chg="modSp">
        <pc:chgData name="Yijun Wang" userId="Of/0Pj+qBr5fypY8jeq4N4QA/9LywGn1V9GniuUBQzk=" providerId="None" clId="Web-{3E1A38BB-3CAC-42C4-B3CB-28E90C4D8F2E}" dt="2025-04-07T21:35:04.371" v="1" actId="1076"/>
        <pc:sldMkLst>
          <pc:docMk/>
          <pc:sldMk cId="4227152733" sldId="259"/>
        </pc:sldMkLst>
        <pc:picChg chg="mod">
          <ac:chgData name="Yijun Wang" userId="Of/0Pj+qBr5fypY8jeq4N4QA/9LywGn1V9GniuUBQzk=" providerId="None" clId="Web-{3E1A38BB-3CAC-42C4-B3CB-28E90C4D8F2E}" dt="2025-04-07T21:35:04.371" v="1" actId="1076"/>
          <ac:picMkLst>
            <pc:docMk/>
            <pc:sldMk cId="4227152733" sldId="259"/>
            <ac:picMk id="92" creationId="{1FDF1DE8-28B0-2742-A21D-18B3A749BD98}"/>
          </ac:picMkLst>
        </pc:picChg>
      </pc:sldChg>
    </pc:docChg>
  </pc:docChgLst>
  <pc:docChgLst>
    <pc:chgData name="Ananth Mohan" userId="0+ntHPCRoNBLvPdhBUzfljBEc8fje1ZhpS6eiRuEUeE=" providerId="None" clId="Web-{2D9EDE3F-A29D-40BB-B904-CBEEFADBC9DF}"/>
    <pc:docChg chg="modSld">
      <pc:chgData name="Ananth Mohan" userId="0+ntHPCRoNBLvPdhBUzfljBEc8fje1ZhpS6eiRuEUeE=" providerId="None" clId="Web-{2D9EDE3F-A29D-40BB-B904-CBEEFADBC9DF}" dt="2025-02-21T19:28:55.644" v="75" actId="14100"/>
      <pc:docMkLst>
        <pc:docMk/>
      </pc:docMkLst>
      <pc:sldChg chg="addSp delSp modSp">
        <pc:chgData name="Ananth Mohan" userId="0+ntHPCRoNBLvPdhBUzfljBEc8fje1ZhpS6eiRuEUeE=" providerId="None" clId="Web-{2D9EDE3F-A29D-40BB-B904-CBEEFADBC9DF}" dt="2025-02-21T19:28:42.127" v="72" actId="14100"/>
        <pc:sldMkLst>
          <pc:docMk/>
          <pc:sldMk cId="810637578" sldId="263"/>
        </pc:sldMkLst>
        <pc:spChg chg="mod">
          <ac:chgData name="Ananth Mohan" userId="0+ntHPCRoNBLvPdhBUzfljBEc8fje1ZhpS6eiRuEUeE=" providerId="None" clId="Web-{2D9EDE3F-A29D-40BB-B904-CBEEFADBC9DF}" dt="2025-02-21T19:27:32.419" v="71" actId="20577"/>
          <ac:spMkLst>
            <pc:docMk/>
            <pc:sldMk cId="810637578" sldId="263"/>
            <ac:spMk id="7" creationId="{299ECDEE-127D-9631-CFAC-5C6299E4ECA3}"/>
          </ac:spMkLst>
        </pc:spChg>
        <pc:spChg chg="mod">
          <ac:chgData name="Ananth Mohan" userId="0+ntHPCRoNBLvPdhBUzfljBEc8fje1ZhpS6eiRuEUeE=" providerId="None" clId="Web-{2D9EDE3F-A29D-40BB-B904-CBEEFADBC9DF}" dt="2025-02-21T19:26:41.166" v="47" actId="1076"/>
          <ac:spMkLst>
            <pc:docMk/>
            <pc:sldMk cId="810637578" sldId="263"/>
            <ac:spMk id="9" creationId="{19AB2F9E-4684-0522-4915-E83244C7D050}"/>
          </ac:spMkLst>
        </pc:spChg>
        <pc:spChg chg="mod">
          <ac:chgData name="Ananth Mohan" userId="0+ntHPCRoNBLvPdhBUzfljBEc8fje1ZhpS6eiRuEUeE=" providerId="None" clId="Web-{2D9EDE3F-A29D-40BB-B904-CBEEFADBC9DF}" dt="2025-02-21T19:26:41.353" v="48" actId="1076"/>
          <ac:spMkLst>
            <pc:docMk/>
            <pc:sldMk cId="810637578" sldId="263"/>
            <ac:spMk id="10" creationId="{E12A2CB5-31B3-B8A1-AC34-E6539E91DD51}"/>
          </ac:spMkLst>
        </pc:spChg>
        <pc:spChg chg="mod">
          <ac:chgData name="Ananth Mohan" userId="0+ntHPCRoNBLvPdhBUzfljBEc8fje1ZhpS6eiRuEUeE=" providerId="None" clId="Web-{2D9EDE3F-A29D-40BB-B904-CBEEFADBC9DF}" dt="2025-02-21T19:26:41.541" v="49" actId="1076"/>
          <ac:spMkLst>
            <pc:docMk/>
            <pc:sldMk cId="810637578" sldId="263"/>
            <ac:spMk id="12" creationId="{C4D7C6B9-9708-E4DB-DA17-00BBDBB95B30}"/>
          </ac:spMkLst>
        </pc:spChg>
        <pc:spChg chg="mod">
          <ac:chgData name="Ananth Mohan" userId="0+ntHPCRoNBLvPdhBUzfljBEc8fje1ZhpS6eiRuEUeE=" providerId="None" clId="Web-{2D9EDE3F-A29D-40BB-B904-CBEEFADBC9DF}" dt="2025-02-21T19:26:41.728" v="50" actId="1076"/>
          <ac:spMkLst>
            <pc:docMk/>
            <pc:sldMk cId="810637578" sldId="263"/>
            <ac:spMk id="13" creationId="{C60A1247-0AC1-E763-5FF5-906DD09F96E5}"/>
          </ac:spMkLst>
        </pc:spChg>
        <pc:spChg chg="mod">
          <ac:chgData name="Ananth Mohan" userId="0+ntHPCRoNBLvPdhBUzfljBEc8fje1ZhpS6eiRuEUeE=" providerId="None" clId="Web-{2D9EDE3F-A29D-40BB-B904-CBEEFADBC9DF}" dt="2025-02-21T19:26:58.995" v="54" actId="14100"/>
          <ac:spMkLst>
            <pc:docMk/>
            <pc:sldMk cId="810637578" sldId="263"/>
            <ac:spMk id="44" creationId="{F3358298-A61B-585C-693F-B9E05EA84E2B}"/>
          </ac:spMkLst>
        </pc:spChg>
        <pc:spChg chg="mod">
          <ac:chgData name="Ananth Mohan" userId="0+ntHPCRoNBLvPdhBUzfljBEc8fje1ZhpS6eiRuEUeE=" providerId="None" clId="Web-{2D9EDE3F-A29D-40BB-B904-CBEEFADBC9DF}" dt="2025-02-21T19:26:42.088" v="52" actId="1076"/>
          <ac:spMkLst>
            <pc:docMk/>
            <pc:sldMk cId="810637578" sldId="263"/>
            <ac:spMk id="46" creationId="{128408B0-2E53-67DC-0B76-B79941F975F2}"/>
          </ac:spMkLst>
        </pc:spChg>
        <pc:spChg chg="mod">
          <ac:chgData name="Ananth Mohan" userId="0+ntHPCRoNBLvPdhBUzfljBEc8fje1ZhpS6eiRuEUeE=" providerId="None" clId="Web-{2D9EDE3F-A29D-40BB-B904-CBEEFADBC9DF}" dt="2025-02-21T19:27:01.464" v="55" actId="14100"/>
          <ac:spMkLst>
            <pc:docMk/>
            <pc:sldMk cId="810637578" sldId="263"/>
            <ac:spMk id="47" creationId="{07E0DD1A-7B39-59B9-3A3A-EA3C42D7D74A}"/>
          </ac:spMkLst>
        </pc:spChg>
      </pc:sldChg>
      <pc:sldChg chg="modSp">
        <pc:chgData name="Ananth Mohan" userId="0+ntHPCRoNBLvPdhBUzfljBEc8fje1ZhpS6eiRuEUeE=" providerId="None" clId="Web-{2D9EDE3F-A29D-40BB-B904-CBEEFADBC9DF}" dt="2025-02-21T19:28:55.644" v="75" actId="14100"/>
        <pc:sldMkLst>
          <pc:docMk/>
          <pc:sldMk cId="2410257369" sldId="264"/>
        </pc:sldMkLst>
        <pc:spChg chg="mod">
          <ac:chgData name="Ananth Mohan" userId="0+ntHPCRoNBLvPdhBUzfljBEc8fje1ZhpS6eiRuEUeE=" providerId="None" clId="Web-{2D9EDE3F-A29D-40BB-B904-CBEEFADBC9DF}" dt="2025-02-21T19:28:55.644" v="75" actId="14100"/>
          <ac:spMkLst>
            <pc:docMk/>
            <pc:sldMk cId="2410257369" sldId="264"/>
            <ac:spMk id="2" creationId="{B9B17CC6-473E-6A1D-9972-48C9DF1C4A6F}"/>
          </ac:spMkLst>
        </pc:spChg>
      </pc:sldChg>
    </pc:docChg>
  </pc:docChgLst>
  <pc:docChgLst>
    <pc:chgData name="Ananth Mohan" userId="0+ntHPCRoNBLvPdhBUzfljBEc8fje1ZhpS6eiRuEUeE=" providerId="None" clId="Web-{4CE3584F-6D67-4227-A4C3-3C35EED869BA}"/>
    <pc:docChg chg="modSld">
      <pc:chgData name="Ananth Mohan" userId="0+ntHPCRoNBLvPdhBUzfljBEc8fje1ZhpS6eiRuEUeE=" providerId="None" clId="Web-{4CE3584F-6D67-4227-A4C3-3C35EED869BA}" dt="2025-03-30T02:43:43.478" v="92" actId="1076"/>
      <pc:docMkLst>
        <pc:docMk/>
      </pc:docMkLst>
      <pc:sldChg chg="modSp">
        <pc:chgData name="Ananth Mohan" userId="0+ntHPCRoNBLvPdhBUzfljBEc8fje1ZhpS6eiRuEUeE=" providerId="None" clId="Web-{4CE3584F-6D67-4227-A4C3-3C35EED869BA}" dt="2025-03-30T02:41:44.067" v="67" actId="1076"/>
        <pc:sldMkLst>
          <pc:docMk/>
          <pc:sldMk cId="810637578" sldId="263"/>
        </pc:sldMkLst>
        <pc:spChg chg="mod">
          <ac:chgData name="Ananth Mohan" userId="0+ntHPCRoNBLvPdhBUzfljBEc8fje1ZhpS6eiRuEUeE=" providerId="None" clId="Web-{4CE3584F-6D67-4227-A4C3-3C35EED869BA}" dt="2025-03-30T02:40:54.815" v="19" actId="1076"/>
          <ac:spMkLst>
            <pc:docMk/>
            <pc:sldMk cId="810637578" sldId="263"/>
            <ac:spMk id="8" creationId="{7C64A13A-A6CE-0BCC-E048-7856D21CA329}"/>
          </ac:spMkLst>
        </pc:spChg>
        <pc:spChg chg="mod">
          <ac:chgData name="Ananth Mohan" userId="0+ntHPCRoNBLvPdhBUzfljBEc8fje1ZhpS6eiRuEUeE=" providerId="None" clId="Web-{4CE3584F-6D67-4227-A4C3-3C35EED869BA}" dt="2025-03-30T02:40:57.487" v="31" actId="1076"/>
          <ac:spMkLst>
            <pc:docMk/>
            <pc:sldMk cId="810637578" sldId="263"/>
            <ac:spMk id="23" creationId="{E665D016-5F0B-4BBA-2B17-E7F1A7822206}"/>
          </ac:spMkLst>
        </pc:spChg>
        <pc:spChg chg="mod">
          <ac:chgData name="Ananth Mohan" userId="0+ntHPCRoNBLvPdhBUzfljBEc8fje1ZhpS6eiRuEUeE=" providerId="None" clId="Web-{4CE3584F-6D67-4227-A4C3-3C35EED869BA}" dt="2025-03-30T02:40:57.706" v="32" actId="1076"/>
          <ac:spMkLst>
            <pc:docMk/>
            <pc:sldMk cId="810637578" sldId="263"/>
            <ac:spMk id="27" creationId="{B5DBB932-36CC-D676-C85C-33A719023472}"/>
          </ac:spMkLst>
        </pc:spChg>
        <pc:spChg chg="mod">
          <ac:chgData name="Ananth Mohan" userId="0+ntHPCRoNBLvPdhBUzfljBEc8fje1ZhpS6eiRuEUeE=" providerId="None" clId="Web-{4CE3584F-6D67-4227-A4C3-3C35EED869BA}" dt="2025-03-30T02:40:57.940" v="33" actId="1076"/>
          <ac:spMkLst>
            <pc:docMk/>
            <pc:sldMk cId="810637578" sldId="263"/>
            <ac:spMk id="33" creationId="{40FF7FE5-73F7-3C69-89FF-35F7276803F3}"/>
          </ac:spMkLst>
        </pc:spChg>
        <pc:spChg chg="mod">
          <ac:chgData name="Ananth Mohan" userId="0+ntHPCRoNBLvPdhBUzfljBEc8fje1ZhpS6eiRuEUeE=" providerId="None" clId="Web-{4CE3584F-6D67-4227-A4C3-3C35EED869BA}" dt="2025-03-30T02:41:44.067" v="67" actId="1076"/>
          <ac:spMkLst>
            <pc:docMk/>
            <pc:sldMk cId="810637578" sldId="263"/>
            <ac:spMk id="73" creationId="{3F8DD11A-504B-5C66-CB28-E18A86297C80}"/>
          </ac:spMkLst>
        </pc:spChg>
        <pc:spChg chg="mod">
          <ac:chgData name="Ananth Mohan" userId="0+ntHPCRoNBLvPdhBUzfljBEc8fje1ZhpS6eiRuEUeE=" providerId="None" clId="Web-{4CE3584F-6D67-4227-A4C3-3C35EED869BA}" dt="2025-03-30T02:40:51.534" v="4" actId="1076"/>
          <ac:spMkLst>
            <pc:docMk/>
            <pc:sldMk cId="810637578" sldId="263"/>
            <ac:spMk id="74" creationId="{B3C92025-B1C2-DE05-55FF-4193F0FAA7E6}"/>
          </ac:spMkLst>
        </pc:spChg>
        <pc:spChg chg="mod">
          <ac:chgData name="Ananth Mohan" userId="0+ntHPCRoNBLvPdhBUzfljBEc8fje1ZhpS6eiRuEUeE=" providerId="None" clId="Web-{4CE3584F-6D67-4227-A4C3-3C35EED869BA}" dt="2025-03-30T02:40:55.253" v="21" actId="1076"/>
          <ac:spMkLst>
            <pc:docMk/>
            <pc:sldMk cId="810637578" sldId="263"/>
            <ac:spMk id="79" creationId="{C2F0ECF5-FB8F-5F42-9F59-A78A6D3945A6}"/>
          </ac:spMkLst>
        </pc:spChg>
        <pc:spChg chg="mod">
          <ac:chgData name="Ananth Mohan" userId="0+ntHPCRoNBLvPdhBUzfljBEc8fje1ZhpS6eiRuEUeE=" providerId="None" clId="Web-{4CE3584F-6D67-4227-A4C3-3C35EED869BA}" dt="2025-03-30T02:41:31.348" v="61" actId="1076"/>
          <ac:spMkLst>
            <pc:docMk/>
            <pc:sldMk cId="810637578" sldId="263"/>
            <ac:spMk id="82" creationId="{7AED0D8C-11EB-0BD7-B0E0-03617FA8F4DE}"/>
          </ac:spMkLst>
        </pc:spChg>
        <pc:spChg chg="mod">
          <ac:chgData name="Ananth Mohan" userId="0+ntHPCRoNBLvPdhBUzfljBEc8fje1ZhpS6eiRuEUeE=" providerId="None" clId="Web-{4CE3584F-6D67-4227-A4C3-3C35EED869BA}" dt="2025-03-30T02:41:31.801" v="63" actId="1076"/>
          <ac:spMkLst>
            <pc:docMk/>
            <pc:sldMk cId="810637578" sldId="263"/>
            <ac:spMk id="94" creationId="{B9BE0AB6-7F02-7264-3DFC-5AD230AB5F76}"/>
          </ac:spMkLst>
        </pc:spChg>
        <pc:spChg chg="mod">
          <ac:chgData name="Ananth Mohan" userId="0+ntHPCRoNBLvPdhBUzfljBEc8fje1ZhpS6eiRuEUeE=" providerId="None" clId="Web-{4CE3584F-6D67-4227-A4C3-3C35EED869BA}" dt="2025-03-30T02:40:56.143" v="25" actId="1076"/>
          <ac:spMkLst>
            <pc:docMk/>
            <pc:sldMk cId="810637578" sldId="263"/>
            <ac:spMk id="95" creationId="{F61DC495-FD95-4496-2A52-6475112782E4}"/>
          </ac:spMkLst>
        </pc:spChg>
        <pc:spChg chg="mod">
          <ac:chgData name="Ananth Mohan" userId="0+ntHPCRoNBLvPdhBUzfljBEc8fje1ZhpS6eiRuEUeE=" providerId="None" clId="Web-{4CE3584F-6D67-4227-A4C3-3C35EED869BA}" dt="2025-03-30T02:40:56.378" v="26" actId="1076"/>
          <ac:spMkLst>
            <pc:docMk/>
            <pc:sldMk cId="810637578" sldId="263"/>
            <ac:spMk id="97" creationId="{9E55A492-F3A5-C73F-234E-3EF9E05E5138}"/>
          </ac:spMkLst>
        </pc:spChg>
        <pc:spChg chg="mod">
          <ac:chgData name="Ananth Mohan" userId="0+ntHPCRoNBLvPdhBUzfljBEc8fje1ZhpS6eiRuEUeE=" providerId="None" clId="Web-{4CE3584F-6D67-4227-A4C3-3C35EED869BA}" dt="2025-03-30T02:41:36.567" v="65" actId="1076"/>
          <ac:spMkLst>
            <pc:docMk/>
            <pc:sldMk cId="810637578" sldId="263"/>
            <ac:spMk id="100" creationId="{62081406-995D-5EA6-5F35-85B29C5A8BBB}"/>
          </ac:spMkLst>
        </pc:spChg>
        <pc:spChg chg="mod">
          <ac:chgData name="Ananth Mohan" userId="0+ntHPCRoNBLvPdhBUzfljBEc8fje1ZhpS6eiRuEUeE=" providerId="None" clId="Web-{4CE3584F-6D67-4227-A4C3-3C35EED869BA}" dt="2025-03-30T02:40:57.050" v="29" actId="1076"/>
          <ac:spMkLst>
            <pc:docMk/>
            <pc:sldMk cId="810637578" sldId="263"/>
            <ac:spMk id="101" creationId="{87CBA8BC-A722-12D2-D73B-A76A5DC56B8C}"/>
          </ac:spMkLst>
        </pc:spChg>
        <pc:spChg chg="mod">
          <ac:chgData name="Ananth Mohan" userId="0+ntHPCRoNBLvPdhBUzfljBEc8fje1ZhpS6eiRuEUeE=" providerId="None" clId="Web-{4CE3584F-6D67-4227-A4C3-3C35EED869BA}" dt="2025-03-30T02:40:57.268" v="30" actId="1076"/>
          <ac:spMkLst>
            <pc:docMk/>
            <pc:sldMk cId="810637578" sldId="263"/>
            <ac:spMk id="102" creationId="{6747F563-CC30-1FD6-35F9-1FB24DF40920}"/>
          </ac:spMkLst>
        </pc:spChg>
        <pc:spChg chg="mod">
          <ac:chgData name="Ananth Mohan" userId="0+ntHPCRoNBLvPdhBUzfljBEc8fje1ZhpS6eiRuEUeE=" providerId="None" clId="Web-{4CE3584F-6D67-4227-A4C3-3C35EED869BA}" dt="2025-03-30T02:40:51.768" v="5" actId="1076"/>
          <ac:spMkLst>
            <pc:docMk/>
            <pc:sldMk cId="810637578" sldId="263"/>
            <ac:spMk id="108" creationId="{EB60DA79-98D9-455B-C0D6-1BF683D29B67}"/>
          </ac:spMkLst>
        </pc:spChg>
        <pc:spChg chg="mod">
          <ac:chgData name="Ananth Mohan" userId="0+ntHPCRoNBLvPdhBUzfljBEc8fje1ZhpS6eiRuEUeE=" providerId="None" clId="Web-{4CE3584F-6D67-4227-A4C3-3C35EED869BA}" dt="2025-03-30T02:41:29.973" v="55" actId="1076"/>
          <ac:spMkLst>
            <pc:docMk/>
            <pc:sldMk cId="810637578" sldId="263"/>
            <ac:spMk id="110" creationId="{A96DFA2A-AD02-06B6-8283-C65D12DC2FE0}"/>
          </ac:spMkLst>
        </pc:spChg>
        <pc:spChg chg="mod">
          <ac:chgData name="Ananth Mohan" userId="0+ntHPCRoNBLvPdhBUzfljBEc8fje1ZhpS6eiRuEUeE=" providerId="None" clId="Web-{4CE3584F-6D67-4227-A4C3-3C35EED869BA}" dt="2025-03-30T02:41:30.910" v="59" actId="1076"/>
          <ac:spMkLst>
            <pc:docMk/>
            <pc:sldMk cId="810637578" sldId="263"/>
            <ac:spMk id="111" creationId="{9D02A781-2653-3BA5-3688-790B147C0918}"/>
          </ac:spMkLst>
        </pc:spChg>
        <pc:spChg chg="mod">
          <ac:chgData name="Ananth Mohan" userId="0+ntHPCRoNBLvPdhBUzfljBEc8fje1ZhpS6eiRuEUeE=" providerId="None" clId="Web-{4CE3584F-6D67-4227-A4C3-3C35EED869BA}" dt="2025-03-30T02:41:30.692" v="58" actId="1076"/>
          <ac:spMkLst>
            <pc:docMk/>
            <pc:sldMk cId="810637578" sldId="263"/>
            <ac:spMk id="115" creationId="{B9659D5E-9329-8C4D-19AA-2F3B70CA831A}"/>
          </ac:spMkLst>
        </pc:spChg>
        <pc:spChg chg="mod">
          <ac:chgData name="Ananth Mohan" userId="0+ntHPCRoNBLvPdhBUzfljBEc8fje1ZhpS6eiRuEUeE=" providerId="None" clId="Web-{4CE3584F-6D67-4227-A4C3-3C35EED869BA}" dt="2025-03-30T02:40:51.987" v="6" actId="1076"/>
          <ac:spMkLst>
            <pc:docMk/>
            <pc:sldMk cId="810637578" sldId="263"/>
            <ac:spMk id="116" creationId="{A9F259AD-CA66-F76C-A61C-3BC5BA60090A}"/>
          </ac:spMkLst>
        </pc:spChg>
        <pc:spChg chg="mod">
          <ac:chgData name="Ananth Mohan" userId="0+ntHPCRoNBLvPdhBUzfljBEc8fje1ZhpS6eiRuEUeE=" providerId="None" clId="Web-{4CE3584F-6D67-4227-A4C3-3C35EED869BA}" dt="2025-03-30T02:40:52.206" v="7" actId="1076"/>
          <ac:spMkLst>
            <pc:docMk/>
            <pc:sldMk cId="810637578" sldId="263"/>
            <ac:spMk id="117" creationId="{69A1A130-C723-FF80-8C52-4585B88A6FCF}"/>
          </ac:spMkLst>
        </pc:spChg>
        <pc:spChg chg="mod">
          <ac:chgData name="Ananth Mohan" userId="0+ntHPCRoNBLvPdhBUzfljBEc8fje1ZhpS6eiRuEUeE=" providerId="None" clId="Web-{4CE3584F-6D67-4227-A4C3-3C35EED869BA}" dt="2025-03-30T02:40:52.425" v="8" actId="1076"/>
          <ac:spMkLst>
            <pc:docMk/>
            <pc:sldMk cId="810637578" sldId="263"/>
            <ac:spMk id="118" creationId="{3DD98C7D-5EDC-60EB-67A1-41AEE24ED37B}"/>
          </ac:spMkLst>
        </pc:spChg>
        <pc:spChg chg="mod">
          <ac:chgData name="Ananth Mohan" userId="0+ntHPCRoNBLvPdhBUzfljBEc8fje1ZhpS6eiRuEUeE=" providerId="None" clId="Web-{4CE3584F-6D67-4227-A4C3-3C35EED869BA}" dt="2025-03-30T02:40:52.643" v="9" actId="1076"/>
          <ac:spMkLst>
            <pc:docMk/>
            <pc:sldMk cId="810637578" sldId="263"/>
            <ac:spMk id="120" creationId="{5D518FEE-1E32-2924-21B4-CD59FF28FE59}"/>
          </ac:spMkLst>
        </pc:spChg>
        <pc:spChg chg="mod">
          <ac:chgData name="Ananth Mohan" userId="0+ntHPCRoNBLvPdhBUzfljBEc8fje1ZhpS6eiRuEUeE=" providerId="None" clId="Web-{4CE3584F-6D67-4227-A4C3-3C35EED869BA}" dt="2025-03-30T02:40:52.878" v="10" actId="1076"/>
          <ac:spMkLst>
            <pc:docMk/>
            <pc:sldMk cId="810637578" sldId="263"/>
            <ac:spMk id="121" creationId="{D9D25C7C-098D-2C8F-07C2-761BEB269C1A}"/>
          </ac:spMkLst>
        </pc:spChg>
        <pc:spChg chg="mod">
          <ac:chgData name="Ananth Mohan" userId="0+ntHPCRoNBLvPdhBUzfljBEc8fje1ZhpS6eiRuEUeE=" providerId="None" clId="Web-{4CE3584F-6D67-4227-A4C3-3C35EED869BA}" dt="2025-03-30T02:40:53.737" v="14" actId="1076"/>
          <ac:spMkLst>
            <pc:docMk/>
            <pc:sldMk cId="810637578" sldId="263"/>
            <ac:spMk id="129" creationId="{60379B83-44AA-B82F-BAE2-D5004C843B15}"/>
          </ac:spMkLst>
        </pc:spChg>
        <pc:spChg chg="mod">
          <ac:chgData name="Ananth Mohan" userId="0+ntHPCRoNBLvPdhBUzfljBEc8fje1ZhpS6eiRuEUeE=" providerId="None" clId="Web-{4CE3584F-6D67-4227-A4C3-3C35EED869BA}" dt="2025-03-30T02:40:53.956" v="15" actId="1076"/>
          <ac:spMkLst>
            <pc:docMk/>
            <pc:sldMk cId="810637578" sldId="263"/>
            <ac:spMk id="131" creationId="{819F5578-C28C-FF3C-FBF1-7515909356F6}"/>
          </ac:spMkLst>
        </pc:spChg>
        <pc:spChg chg="mod">
          <ac:chgData name="Ananth Mohan" userId="0+ntHPCRoNBLvPdhBUzfljBEc8fje1ZhpS6eiRuEUeE=" providerId="None" clId="Web-{4CE3584F-6D67-4227-A4C3-3C35EED869BA}" dt="2025-03-30T02:40:54.159" v="16" actId="1076"/>
          <ac:spMkLst>
            <pc:docMk/>
            <pc:sldMk cId="810637578" sldId="263"/>
            <ac:spMk id="132" creationId="{75DCE009-7AEF-AAAA-D49D-6B36D9754678}"/>
          </ac:spMkLst>
        </pc:spChg>
        <pc:spChg chg="mod">
          <ac:chgData name="Ananth Mohan" userId="0+ntHPCRoNBLvPdhBUzfljBEc8fje1ZhpS6eiRuEUeE=" providerId="None" clId="Web-{4CE3584F-6D67-4227-A4C3-3C35EED869BA}" dt="2025-03-30T02:40:54.362" v="17" actId="1076"/>
          <ac:spMkLst>
            <pc:docMk/>
            <pc:sldMk cId="810637578" sldId="263"/>
            <ac:spMk id="133" creationId="{C4A6260A-6D48-7FD6-FB55-32BA221F86C1}"/>
          </ac:spMkLst>
        </pc:spChg>
        <pc:spChg chg="mod">
          <ac:chgData name="Ananth Mohan" userId="0+ntHPCRoNBLvPdhBUzfljBEc8fje1ZhpS6eiRuEUeE=" providerId="None" clId="Web-{4CE3584F-6D67-4227-A4C3-3C35EED869BA}" dt="2025-03-30T02:40:54.581" v="18" actId="1076"/>
          <ac:spMkLst>
            <pc:docMk/>
            <pc:sldMk cId="810637578" sldId="263"/>
            <ac:spMk id="134" creationId="{16139CE1-6FBC-0EB4-DE69-B920371AB29C}"/>
          </ac:spMkLst>
        </pc:spChg>
        <pc:spChg chg="mod">
          <ac:chgData name="Ananth Mohan" userId="0+ntHPCRoNBLvPdhBUzfljBEc8fje1ZhpS6eiRuEUeE=" providerId="None" clId="Web-{4CE3584F-6D67-4227-A4C3-3C35EED869BA}" dt="2025-03-30T02:41:32.020" v="64" actId="1076"/>
          <ac:spMkLst>
            <pc:docMk/>
            <pc:sldMk cId="810637578" sldId="263"/>
            <ac:spMk id="163" creationId="{89E3A2E5-64DA-8C84-6BF6-57AA66EA5FFD}"/>
          </ac:spMkLst>
        </pc:spChg>
        <pc:spChg chg="mod">
          <ac:chgData name="Ananth Mohan" userId="0+ntHPCRoNBLvPdhBUzfljBEc8fje1ZhpS6eiRuEUeE=" providerId="None" clId="Web-{4CE3584F-6D67-4227-A4C3-3C35EED869BA}" dt="2025-03-30T02:40:58.378" v="35" actId="1076"/>
          <ac:spMkLst>
            <pc:docMk/>
            <pc:sldMk cId="810637578" sldId="263"/>
            <ac:spMk id="164" creationId="{D5027268-7BA0-2914-80E5-EFA12C070FAA}"/>
          </ac:spMkLst>
        </pc:spChg>
        <pc:spChg chg="mod">
          <ac:chgData name="Ananth Mohan" userId="0+ntHPCRoNBLvPdhBUzfljBEc8fje1ZhpS6eiRuEUeE=" providerId="None" clId="Web-{4CE3584F-6D67-4227-A4C3-3C35EED869BA}" dt="2025-03-30T02:40:58.612" v="36" actId="1076"/>
          <ac:spMkLst>
            <pc:docMk/>
            <pc:sldMk cId="810637578" sldId="263"/>
            <ac:spMk id="165" creationId="{31E6C983-B6FD-0DE9-A969-DE3BED07D95B}"/>
          </ac:spMkLst>
        </pc:spChg>
        <pc:spChg chg="mod">
          <ac:chgData name="Ananth Mohan" userId="0+ntHPCRoNBLvPdhBUzfljBEc8fje1ZhpS6eiRuEUeE=" providerId="None" clId="Web-{4CE3584F-6D67-4227-A4C3-3C35EED869BA}" dt="2025-03-30T02:40:58.831" v="37" actId="1076"/>
          <ac:spMkLst>
            <pc:docMk/>
            <pc:sldMk cId="810637578" sldId="263"/>
            <ac:spMk id="167" creationId="{23FF0565-68F2-DB31-A2FA-C5157DD6C805}"/>
          </ac:spMkLst>
        </pc:spChg>
        <pc:graphicFrameChg chg="mod">
          <ac:chgData name="Ananth Mohan" userId="0+ntHPCRoNBLvPdhBUzfljBEc8fje1ZhpS6eiRuEUeE=" providerId="None" clId="Web-{4CE3584F-6D67-4227-A4C3-3C35EED869BA}" dt="2025-03-30T02:40:55.034" v="20" actId="1076"/>
          <ac:graphicFrameMkLst>
            <pc:docMk/>
            <pc:sldMk cId="810637578" sldId="263"/>
            <ac:graphicFrameMk id="24" creationId="{7274279B-F42A-9AD0-943B-BBB4F1D0EF0B}"/>
          </ac:graphicFrameMkLst>
        </pc:graphicFrameChg>
        <pc:graphicFrameChg chg="mod">
          <ac:chgData name="Ananth Mohan" userId="0+ntHPCRoNBLvPdhBUzfljBEc8fje1ZhpS6eiRuEUeE=" providerId="None" clId="Web-{4CE3584F-6D67-4227-A4C3-3C35EED869BA}" dt="2025-03-30T02:40:59.269" v="39" actId="1076"/>
          <ac:graphicFrameMkLst>
            <pc:docMk/>
            <pc:sldMk cId="810637578" sldId="263"/>
            <ac:graphicFrameMk id="169" creationId="{B168E9E6-D886-54D2-1CE9-C59A966370A2}"/>
          </ac:graphicFrameMkLst>
        </pc:graphicFrameChg>
        <pc:cxnChg chg="mod">
          <ac:chgData name="Ananth Mohan" userId="0+ntHPCRoNBLvPdhBUzfljBEc8fje1ZhpS6eiRuEUeE=" providerId="None" clId="Web-{4CE3584F-6D67-4227-A4C3-3C35EED869BA}" dt="2025-03-30T02:41:21.488" v="44" actId="1076"/>
          <ac:cxnSpMkLst>
            <pc:docMk/>
            <pc:sldMk cId="810637578" sldId="263"/>
            <ac:cxnSpMk id="26" creationId="{9E37D577-5CD7-4A5A-323B-6B5FBEDA41A6}"/>
          </ac:cxnSpMkLst>
        </pc:cxnChg>
        <pc:cxnChg chg="mod">
          <ac:chgData name="Ananth Mohan" userId="0+ntHPCRoNBLvPdhBUzfljBEc8fje1ZhpS6eiRuEUeE=" providerId="None" clId="Web-{4CE3584F-6D67-4227-A4C3-3C35EED869BA}" dt="2025-03-30T02:40:58.159" v="34" actId="1076"/>
          <ac:cxnSpMkLst>
            <pc:docMk/>
            <pc:sldMk cId="810637578" sldId="263"/>
            <ac:cxnSpMk id="39" creationId="{19A3E57F-DBD2-D119-F06F-2A80BE09D5AA}"/>
          </ac:cxnSpMkLst>
        </pc:cxnChg>
        <pc:cxnChg chg="mod">
          <ac:chgData name="Ananth Mohan" userId="0+ntHPCRoNBLvPdhBUzfljBEc8fje1ZhpS6eiRuEUeE=" providerId="None" clId="Web-{4CE3584F-6D67-4227-A4C3-3C35EED869BA}" dt="2025-03-30T02:41:31.567" v="62" actId="1076"/>
          <ac:cxnSpMkLst>
            <pc:docMk/>
            <pc:sldMk cId="810637578" sldId="263"/>
            <ac:cxnSpMk id="84" creationId="{E57120C4-47E8-DE15-CDEB-3C9498046445}"/>
          </ac:cxnSpMkLst>
        </pc:cxnChg>
        <pc:cxnChg chg="mod">
          <ac:chgData name="Ananth Mohan" userId="0+ntHPCRoNBLvPdhBUzfljBEc8fje1ZhpS6eiRuEUeE=" providerId="None" clId="Web-{4CE3584F-6D67-4227-A4C3-3C35EED869BA}" dt="2025-03-30T02:40:55.472" v="22" actId="1076"/>
          <ac:cxnSpMkLst>
            <pc:docMk/>
            <pc:sldMk cId="810637578" sldId="263"/>
            <ac:cxnSpMk id="88" creationId="{541FA767-FE93-EA64-8867-B2C5F8AD6569}"/>
          </ac:cxnSpMkLst>
        </pc:cxnChg>
        <pc:cxnChg chg="mod">
          <ac:chgData name="Ananth Mohan" userId="0+ntHPCRoNBLvPdhBUzfljBEc8fje1ZhpS6eiRuEUeE=" providerId="None" clId="Web-{4CE3584F-6D67-4227-A4C3-3C35EED869BA}" dt="2025-03-30T02:40:55.690" v="23" actId="1076"/>
          <ac:cxnSpMkLst>
            <pc:docMk/>
            <pc:sldMk cId="810637578" sldId="263"/>
            <ac:cxnSpMk id="89" creationId="{1B8F2005-15ED-EF1F-E731-59B591DA931F}"/>
          </ac:cxnSpMkLst>
        </pc:cxnChg>
        <pc:cxnChg chg="mod">
          <ac:chgData name="Ananth Mohan" userId="0+ntHPCRoNBLvPdhBUzfljBEc8fje1ZhpS6eiRuEUeE=" providerId="None" clId="Web-{4CE3584F-6D67-4227-A4C3-3C35EED869BA}" dt="2025-03-30T02:40:55.925" v="24" actId="1076"/>
          <ac:cxnSpMkLst>
            <pc:docMk/>
            <pc:sldMk cId="810637578" sldId="263"/>
            <ac:cxnSpMk id="90" creationId="{0AA764BC-04FD-0360-B559-95F6FF979942}"/>
          </ac:cxnSpMkLst>
        </pc:cxnChg>
        <pc:cxnChg chg="mod">
          <ac:chgData name="Ananth Mohan" userId="0+ntHPCRoNBLvPdhBUzfljBEc8fje1ZhpS6eiRuEUeE=" providerId="None" clId="Web-{4CE3584F-6D67-4227-A4C3-3C35EED869BA}" dt="2025-03-30T02:40:56.597" v="27" actId="1076"/>
          <ac:cxnSpMkLst>
            <pc:docMk/>
            <pc:sldMk cId="810637578" sldId="263"/>
            <ac:cxnSpMk id="98" creationId="{84687139-8338-8890-0A7C-BF281FAECBCF}"/>
          </ac:cxnSpMkLst>
        </pc:cxnChg>
        <pc:cxnChg chg="mod">
          <ac:chgData name="Ananth Mohan" userId="0+ntHPCRoNBLvPdhBUzfljBEc8fje1ZhpS6eiRuEUeE=" providerId="None" clId="Web-{4CE3584F-6D67-4227-A4C3-3C35EED869BA}" dt="2025-03-30T02:40:56.831" v="28" actId="1076"/>
          <ac:cxnSpMkLst>
            <pc:docMk/>
            <pc:sldMk cId="810637578" sldId="263"/>
            <ac:cxnSpMk id="99" creationId="{9D33DE9D-6226-383D-D2D7-167A3098C3F1}"/>
          </ac:cxnSpMkLst>
        </pc:cxnChg>
        <pc:cxnChg chg="mod">
          <ac:chgData name="Ananth Mohan" userId="0+ntHPCRoNBLvPdhBUzfljBEc8fje1ZhpS6eiRuEUeE=" providerId="None" clId="Web-{4CE3584F-6D67-4227-A4C3-3C35EED869BA}" dt="2025-03-30T02:41:30.207" v="56" actId="1076"/>
          <ac:cxnSpMkLst>
            <pc:docMk/>
            <pc:sldMk cId="810637578" sldId="263"/>
            <ac:cxnSpMk id="112" creationId="{F04EE867-59A4-2182-DEA3-36A1EA703473}"/>
          </ac:cxnSpMkLst>
        </pc:cxnChg>
        <pc:cxnChg chg="mod">
          <ac:chgData name="Ananth Mohan" userId="0+ntHPCRoNBLvPdhBUzfljBEc8fje1ZhpS6eiRuEUeE=" providerId="None" clId="Web-{4CE3584F-6D67-4227-A4C3-3C35EED869BA}" dt="2025-03-30T02:41:30.457" v="57" actId="1076"/>
          <ac:cxnSpMkLst>
            <pc:docMk/>
            <pc:sldMk cId="810637578" sldId="263"/>
            <ac:cxnSpMk id="114" creationId="{DD5F55B4-B28C-7265-C7EA-362D5B1ECF3C}"/>
          </ac:cxnSpMkLst>
        </pc:cxnChg>
        <pc:cxnChg chg="mod">
          <ac:chgData name="Ananth Mohan" userId="0+ntHPCRoNBLvPdhBUzfljBEc8fje1ZhpS6eiRuEUeE=" providerId="None" clId="Web-{4CE3584F-6D67-4227-A4C3-3C35EED869BA}" dt="2025-03-30T02:40:53.081" v="11" actId="1076"/>
          <ac:cxnSpMkLst>
            <pc:docMk/>
            <pc:sldMk cId="810637578" sldId="263"/>
            <ac:cxnSpMk id="122" creationId="{092A37AD-D2B2-A27C-0407-1E96893A3521}"/>
          </ac:cxnSpMkLst>
        </pc:cxnChg>
        <pc:cxnChg chg="mod">
          <ac:chgData name="Ananth Mohan" userId="0+ntHPCRoNBLvPdhBUzfljBEc8fje1ZhpS6eiRuEUeE=" providerId="None" clId="Web-{4CE3584F-6D67-4227-A4C3-3C35EED869BA}" dt="2025-03-30T02:40:53.300" v="12" actId="1076"/>
          <ac:cxnSpMkLst>
            <pc:docMk/>
            <pc:sldMk cId="810637578" sldId="263"/>
            <ac:cxnSpMk id="123" creationId="{36FC00C8-59F4-ACB4-763C-5DAF0D65617A}"/>
          </ac:cxnSpMkLst>
        </pc:cxnChg>
        <pc:cxnChg chg="mod">
          <ac:chgData name="Ananth Mohan" userId="0+ntHPCRoNBLvPdhBUzfljBEc8fje1ZhpS6eiRuEUeE=" providerId="None" clId="Web-{4CE3584F-6D67-4227-A4C3-3C35EED869BA}" dt="2025-03-30T02:40:53.534" v="13" actId="1076"/>
          <ac:cxnSpMkLst>
            <pc:docMk/>
            <pc:sldMk cId="810637578" sldId="263"/>
            <ac:cxnSpMk id="124" creationId="{D5B52A4D-3C69-3AC1-3890-F25949BA3115}"/>
          </ac:cxnSpMkLst>
        </pc:cxnChg>
        <pc:cxnChg chg="mod">
          <ac:chgData name="Ananth Mohan" userId="0+ntHPCRoNBLvPdhBUzfljBEc8fje1ZhpS6eiRuEUeE=" providerId="None" clId="Web-{4CE3584F-6D67-4227-A4C3-3C35EED869BA}" dt="2025-03-30T02:40:59.050" v="38" actId="1076"/>
          <ac:cxnSpMkLst>
            <pc:docMk/>
            <pc:sldMk cId="810637578" sldId="263"/>
            <ac:cxnSpMk id="168" creationId="{65D5AF2F-4977-F93B-53E2-1AAA76B48AA7}"/>
          </ac:cxnSpMkLst>
        </pc:cxnChg>
      </pc:sldChg>
      <pc:sldChg chg="modSp">
        <pc:chgData name="Ananth Mohan" userId="0+ntHPCRoNBLvPdhBUzfljBEc8fje1ZhpS6eiRuEUeE=" providerId="None" clId="Web-{4CE3584F-6D67-4227-A4C3-3C35EED869BA}" dt="2025-03-30T02:43:43.478" v="92" actId="1076"/>
        <pc:sldMkLst>
          <pc:docMk/>
          <pc:sldMk cId="3303383250" sldId="265"/>
        </pc:sldMkLst>
        <pc:spChg chg="mod">
          <ac:chgData name="Ananth Mohan" userId="0+ntHPCRoNBLvPdhBUzfljBEc8fje1ZhpS6eiRuEUeE=" providerId="None" clId="Web-{4CE3584F-6D67-4227-A4C3-3C35EED869BA}" dt="2025-03-30T02:43:06.664" v="87" actId="1076"/>
          <ac:spMkLst>
            <pc:docMk/>
            <pc:sldMk cId="3303383250" sldId="265"/>
            <ac:spMk id="82" creationId="{64E47BDD-E81D-3BAF-D0D5-B8262D93D772}"/>
          </ac:spMkLst>
        </pc:spChg>
        <pc:spChg chg="mod">
          <ac:chgData name="Ananth Mohan" userId="0+ntHPCRoNBLvPdhBUzfljBEc8fje1ZhpS6eiRuEUeE=" providerId="None" clId="Web-{4CE3584F-6D67-4227-A4C3-3C35EED869BA}" dt="2025-03-30T02:43:02.508" v="86" actId="1076"/>
          <ac:spMkLst>
            <pc:docMk/>
            <pc:sldMk cId="3303383250" sldId="265"/>
            <ac:spMk id="83" creationId="{EBCCB58A-65C5-D52C-CB01-1F41E2AD9C08}"/>
          </ac:spMkLst>
        </pc:spChg>
        <pc:spChg chg="mod">
          <ac:chgData name="Ananth Mohan" userId="0+ntHPCRoNBLvPdhBUzfljBEc8fje1ZhpS6eiRuEUeE=" providerId="None" clId="Web-{4CE3584F-6D67-4227-A4C3-3C35EED869BA}" dt="2025-03-30T02:42:24.725" v="77" actId="1076"/>
          <ac:spMkLst>
            <pc:docMk/>
            <pc:sldMk cId="3303383250" sldId="265"/>
            <ac:spMk id="94" creationId="{E7070685-D68D-3B66-D8E8-74C908B5CA28}"/>
          </ac:spMkLst>
        </pc:spChg>
        <pc:spChg chg="mod">
          <ac:chgData name="Ananth Mohan" userId="0+ntHPCRoNBLvPdhBUzfljBEc8fje1ZhpS6eiRuEUeE=" providerId="None" clId="Web-{4CE3584F-6D67-4227-A4C3-3C35EED869BA}" dt="2025-03-30T02:42:48.242" v="84" actId="1076"/>
          <ac:spMkLst>
            <pc:docMk/>
            <pc:sldMk cId="3303383250" sldId="265"/>
            <ac:spMk id="100" creationId="{E87BD74B-20AB-5DEA-C74D-055E8B1DC87F}"/>
          </ac:spMkLst>
        </pc:spChg>
        <pc:spChg chg="mod">
          <ac:chgData name="Ananth Mohan" userId="0+ntHPCRoNBLvPdhBUzfljBEc8fje1ZhpS6eiRuEUeE=" providerId="None" clId="Web-{4CE3584F-6D67-4227-A4C3-3C35EED869BA}" dt="2025-03-30T02:43:43.478" v="92" actId="1076"/>
          <ac:spMkLst>
            <pc:docMk/>
            <pc:sldMk cId="3303383250" sldId="265"/>
            <ac:spMk id="103" creationId="{45B6AA70-A6A0-4D3A-B553-FFCE4BE5266A}"/>
          </ac:spMkLst>
        </pc:spChg>
        <pc:spChg chg="mod">
          <ac:chgData name="Ananth Mohan" userId="0+ntHPCRoNBLvPdhBUzfljBEc8fje1ZhpS6eiRuEUeE=" providerId="None" clId="Web-{4CE3584F-6D67-4227-A4C3-3C35EED869BA}" dt="2025-03-30T02:42:22.991" v="69" actId="1076"/>
          <ac:spMkLst>
            <pc:docMk/>
            <pc:sldMk cId="3303383250" sldId="265"/>
            <ac:spMk id="110" creationId="{F3D54D72-FD66-3004-DCF0-9F5B7F0C18B1}"/>
          </ac:spMkLst>
        </pc:spChg>
        <pc:spChg chg="mod">
          <ac:chgData name="Ananth Mohan" userId="0+ntHPCRoNBLvPdhBUzfljBEc8fje1ZhpS6eiRuEUeE=" providerId="None" clId="Web-{4CE3584F-6D67-4227-A4C3-3C35EED869BA}" dt="2025-03-30T02:42:23.866" v="73" actId="1076"/>
          <ac:spMkLst>
            <pc:docMk/>
            <pc:sldMk cId="3303383250" sldId="265"/>
            <ac:spMk id="111" creationId="{E33F8D31-1F00-A21D-DFCF-C82792BD371A}"/>
          </ac:spMkLst>
        </pc:spChg>
        <pc:spChg chg="mod">
          <ac:chgData name="Ananth Mohan" userId="0+ntHPCRoNBLvPdhBUzfljBEc8fje1ZhpS6eiRuEUeE=" providerId="None" clId="Web-{4CE3584F-6D67-4227-A4C3-3C35EED869BA}" dt="2025-03-30T02:42:23.631" v="72" actId="1076"/>
          <ac:spMkLst>
            <pc:docMk/>
            <pc:sldMk cId="3303383250" sldId="265"/>
            <ac:spMk id="115" creationId="{32A40A3D-F439-D03C-B23C-8B8B5E88E26D}"/>
          </ac:spMkLst>
        </pc:spChg>
        <pc:spChg chg="mod">
          <ac:chgData name="Ananth Mohan" userId="0+ntHPCRoNBLvPdhBUzfljBEc8fje1ZhpS6eiRuEUeE=" providerId="None" clId="Web-{4CE3584F-6D67-4227-A4C3-3C35EED869BA}" dt="2025-03-30T02:42:25.163" v="79" actId="1076"/>
          <ac:spMkLst>
            <pc:docMk/>
            <pc:sldMk cId="3303383250" sldId="265"/>
            <ac:spMk id="163" creationId="{23AD3AA8-2BB6-D8F3-A592-B31D1A807DBC}"/>
          </ac:spMkLst>
        </pc:spChg>
        <pc:spChg chg="mod">
          <ac:chgData name="Ananth Mohan" userId="0+ntHPCRoNBLvPdhBUzfljBEc8fje1ZhpS6eiRuEUeE=" providerId="None" clId="Web-{4CE3584F-6D67-4227-A4C3-3C35EED869BA}" dt="2025-03-30T02:43:15.461" v="88" actId="1076"/>
          <ac:spMkLst>
            <pc:docMk/>
            <pc:sldMk cId="3303383250" sldId="265"/>
            <ac:spMk id="165" creationId="{313C4ECF-31F7-CCD7-10EC-FA2EABB77A5A}"/>
          </ac:spMkLst>
        </pc:spChg>
        <pc:cxnChg chg="mod">
          <ac:chgData name="Ananth Mohan" userId="0+ntHPCRoNBLvPdhBUzfljBEc8fje1ZhpS6eiRuEUeE=" providerId="None" clId="Web-{4CE3584F-6D67-4227-A4C3-3C35EED869BA}" dt="2025-03-30T02:43:32.009" v="91" actId="14100"/>
          <ac:cxnSpMkLst>
            <pc:docMk/>
            <pc:sldMk cId="3303383250" sldId="265"/>
            <ac:cxnSpMk id="26" creationId="{7F556461-EDFF-B369-3A9B-87B43EF1D585}"/>
          </ac:cxnSpMkLst>
        </pc:cxnChg>
        <pc:cxnChg chg="mod">
          <ac:chgData name="Ananth Mohan" userId="0+ntHPCRoNBLvPdhBUzfljBEc8fje1ZhpS6eiRuEUeE=" providerId="None" clId="Web-{4CE3584F-6D67-4227-A4C3-3C35EED869BA}" dt="2025-03-30T02:42:24.506" v="76" actId="1076"/>
          <ac:cxnSpMkLst>
            <pc:docMk/>
            <pc:sldMk cId="3303383250" sldId="265"/>
            <ac:cxnSpMk id="84" creationId="{0FB24FEB-1EF0-0DA6-9DC4-B63D3266794B}"/>
          </ac:cxnSpMkLst>
        </pc:cxnChg>
        <pc:cxnChg chg="mod">
          <ac:chgData name="Ananth Mohan" userId="0+ntHPCRoNBLvPdhBUzfljBEc8fje1ZhpS6eiRuEUeE=" providerId="None" clId="Web-{4CE3584F-6D67-4227-A4C3-3C35EED869BA}" dt="2025-03-30T02:42:23.194" v="70" actId="1076"/>
          <ac:cxnSpMkLst>
            <pc:docMk/>
            <pc:sldMk cId="3303383250" sldId="265"/>
            <ac:cxnSpMk id="112" creationId="{2178A5C8-E324-F625-38D1-8C9FB8ADF2A5}"/>
          </ac:cxnSpMkLst>
        </pc:cxnChg>
        <pc:cxnChg chg="mod">
          <ac:chgData name="Ananth Mohan" userId="0+ntHPCRoNBLvPdhBUzfljBEc8fje1ZhpS6eiRuEUeE=" providerId="None" clId="Web-{4CE3584F-6D67-4227-A4C3-3C35EED869BA}" dt="2025-03-30T02:42:23.412" v="71" actId="1076"/>
          <ac:cxnSpMkLst>
            <pc:docMk/>
            <pc:sldMk cId="3303383250" sldId="265"/>
            <ac:cxnSpMk id="114" creationId="{1CEFB074-97B0-8330-A0BC-FC17761BF0A7}"/>
          </ac:cxnSpMkLst>
        </pc:cxnChg>
      </pc:sldChg>
    </pc:docChg>
  </pc:docChgLst>
  <pc:docChgLst>
    <pc:chgData name="Farha Shireen" userId="K9hHn9oINz5vZ9EtNhWdkbocU8fYfQRPeYvfmnVYJ7Q=" providerId="None" clId="Web-{EB0D9106-FED4-4208-91DF-7F73C719B725}"/>
    <pc:docChg chg="modSld">
      <pc:chgData name="Farha Shireen" userId="K9hHn9oINz5vZ9EtNhWdkbocU8fYfQRPeYvfmnVYJ7Q=" providerId="None" clId="Web-{EB0D9106-FED4-4208-91DF-7F73C719B725}" dt="2025-03-28T03:56:39.904" v="6" actId="20577"/>
      <pc:docMkLst>
        <pc:docMk/>
      </pc:docMkLst>
      <pc:sldChg chg="modSp">
        <pc:chgData name="Farha Shireen" userId="K9hHn9oINz5vZ9EtNhWdkbocU8fYfQRPeYvfmnVYJ7Q=" providerId="None" clId="Web-{EB0D9106-FED4-4208-91DF-7F73C719B725}" dt="2025-03-28T03:56:39.904" v="6" actId="20577"/>
        <pc:sldMkLst>
          <pc:docMk/>
          <pc:sldMk cId="810637578" sldId="263"/>
        </pc:sldMkLst>
        <pc:spChg chg="mod">
          <ac:chgData name="Farha Shireen" userId="K9hHn9oINz5vZ9EtNhWdkbocU8fYfQRPeYvfmnVYJ7Q=" providerId="None" clId="Web-{EB0D9106-FED4-4208-91DF-7F73C719B725}" dt="2025-03-28T03:56:19.170" v="4" actId="14100"/>
          <ac:spMkLst>
            <pc:docMk/>
            <pc:sldMk cId="810637578" sldId="263"/>
            <ac:spMk id="9" creationId="{19AB2F9E-4684-0522-4915-E83244C7D050}"/>
          </ac:spMkLst>
        </pc:spChg>
        <pc:spChg chg="mod">
          <ac:chgData name="Farha Shireen" userId="K9hHn9oINz5vZ9EtNhWdkbocU8fYfQRPeYvfmnVYJ7Q=" providerId="None" clId="Web-{EB0D9106-FED4-4208-91DF-7F73C719B725}" dt="2025-03-28T03:56:39.904" v="6" actId="20577"/>
          <ac:spMkLst>
            <pc:docMk/>
            <pc:sldMk cId="810637578" sldId="263"/>
            <ac:spMk id="10" creationId="{E12A2CB5-31B3-B8A1-AC34-E6539E91DD51}"/>
          </ac:spMkLst>
        </pc:spChg>
      </pc:sldChg>
    </pc:docChg>
  </pc:docChgLst>
  <pc:docChgLst>
    <pc:chgData name="Farha Shireen" userId="K9hHn9oINz5vZ9EtNhWdkbocU8fYfQRPeYvfmnVYJ7Q=" providerId="None" clId="Web-{79E15CDE-5512-43A4-AC5B-459BBD08BEC4}"/>
    <pc:docChg chg="modSld">
      <pc:chgData name="Farha Shireen" userId="K9hHn9oINz5vZ9EtNhWdkbocU8fYfQRPeYvfmnVYJ7Q=" providerId="None" clId="Web-{79E15CDE-5512-43A4-AC5B-459BBD08BEC4}" dt="2025-03-06T21:24:45.825" v="3" actId="20577"/>
      <pc:docMkLst>
        <pc:docMk/>
      </pc:docMkLst>
      <pc:sldChg chg="modSp">
        <pc:chgData name="Farha Shireen" userId="K9hHn9oINz5vZ9EtNhWdkbocU8fYfQRPeYvfmnVYJ7Q=" providerId="None" clId="Web-{79E15CDE-5512-43A4-AC5B-459BBD08BEC4}" dt="2025-03-06T21:24:45.825" v="3" actId="20577"/>
        <pc:sldMkLst>
          <pc:docMk/>
          <pc:sldMk cId="810637578" sldId="263"/>
        </pc:sldMkLst>
        <pc:spChg chg="mod">
          <ac:chgData name="Farha Shireen" userId="K9hHn9oINz5vZ9EtNhWdkbocU8fYfQRPeYvfmnVYJ7Q=" providerId="None" clId="Web-{79E15CDE-5512-43A4-AC5B-459BBD08BEC4}" dt="2025-03-06T21:24:41.747" v="1" actId="20577"/>
          <ac:spMkLst>
            <pc:docMk/>
            <pc:sldMk cId="810637578" sldId="263"/>
            <ac:spMk id="5" creationId="{D4253DBF-C5E1-107A-A92F-3342904DDE9F}"/>
          </ac:spMkLst>
        </pc:spChg>
        <pc:spChg chg="mod">
          <ac:chgData name="Farha Shireen" userId="K9hHn9oINz5vZ9EtNhWdkbocU8fYfQRPeYvfmnVYJ7Q=" providerId="None" clId="Web-{79E15CDE-5512-43A4-AC5B-459BBD08BEC4}" dt="2025-03-06T21:24:45.825" v="3" actId="20577"/>
          <ac:spMkLst>
            <pc:docMk/>
            <pc:sldMk cId="810637578" sldId="263"/>
            <ac:spMk id="10" creationId="{E12A2CB5-31B3-B8A1-AC34-E6539E91DD51}"/>
          </ac:spMkLst>
        </pc:spChg>
      </pc:sldChg>
    </pc:docChg>
  </pc:docChgLst>
  <pc:docChgLst>
    <pc:chgData name="Yao Liu" userId="De98wOxqXTFY8++esdgi1+Besv75b2e3DCsfKbqDwqA=" providerId="None" clId="Web-{E7838AC3-DC0C-458D-9607-0F8B365529EC}"/>
    <pc:docChg chg="modSld">
      <pc:chgData name="Yao Liu" userId="De98wOxqXTFY8++esdgi1+Besv75b2e3DCsfKbqDwqA=" providerId="None" clId="Web-{E7838AC3-DC0C-458D-9607-0F8B365529EC}" dt="2025-03-20T21:44:42.253" v="4" actId="1076"/>
      <pc:docMkLst>
        <pc:docMk/>
      </pc:docMkLst>
      <pc:sldChg chg="modSp">
        <pc:chgData name="Yao Liu" userId="De98wOxqXTFY8++esdgi1+Besv75b2e3DCsfKbqDwqA=" providerId="None" clId="Web-{E7838AC3-DC0C-458D-9607-0F8B365529EC}" dt="2025-03-20T21:44:42.253" v="4" actId="1076"/>
        <pc:sldMkLst>
          <pc:docMk/>
          <pc:sldMk cId="810637578" sldId="263"/>
        </pc:sldMkLst>
        <pc:cxnChg chg="mod">
          <ac:chgData name="Yao Liu" userId="De98wOxqXTFY8++esdgi1+Besv75b2e3DCsfKbqDwqA=" providerId="None" clId="Web-{E7838AC3-DC0C-458D-9607-0F8B365529EC}" dt="2025-03-20T21:44:42.253" v="4" actId="1076"/>
          <ac:cxnSpMkLst>
            <pc:docMk/>
            <pc:sldMk cId="810637578" sldId="263"/>
            <ac:cxnSpMk id="55" creationId="{1724909C-7D2F-3B28-6FF4-B3076A59A6A7}"/>
          </ac:cxnSpMkLst>
        </pc:cxnChg>
      </pc:sldChg>
    </pc:docChg>
  </pc:docChgLst>
  <pc:docChgLst>
    <pc:chgData name="Hsueh-Ning Chao" userId="I32u27yO7tdajtqyP71sKDiQulIz6ic0z1xl0wdhUYk=" providerId="None" clId="Web-{8661B377-3EFA-4603-9FE8-311693BCECDD}"/>
    <pc:docChg chg="modSld">
      <pc:chgData name="Hsueh-Ning Chao" userId="I32u27yO7tdajtqyP71sKDiQulIz6ic0z1xl0wdhUYk=" providerId="None" clId="Web-{8661B377-3EFA-4603-9FE8-311693BCECDD}" dt="2025-03-06T20:59:33.775" v="62" actId="1076"/>
      <pc:docMkLst>
        <pc:docMk/>
      </pc:docMkLst>
      <pc:sldChg chg="modSp">
        <pc:chgData name="Hsueh-Ning Chao" userId="I32u27yO7tdajtqyP71sKDiQulIz6ic0z1xl0wdhUYk=" providerId="None" clId="Web-{8661B377-3EFA-4603-9FE8-311693BCECDD}" dt="2025-03-06T20:59:33.775" v="62" actId="1076"/>
        <pc:sldMkLst>
          <pc:docMk/>
          <pc:sldMk cId="810637578" sldId="263"/>
        </pc:sldMkLst>
        <pc:spChg chg="mod">
          <ac:chgData name="Hsueh-Ning Chao" userId="I32u27yO7tdajtqyP71sKDiQulIz6ic0z1xl0wdhUYk=" providerId="None" clId="Web-{8661B377-3EFA-4603-9FE8-311693BCECDD}" dt="2025-03-06T20:59:33.775" v="62" actId="1076"/>
          <ac:spMkLst>
            <pc:docMk/>
            <pc:sldMk cId="810637578" sldId="263"/>
            <ac:spMk id="9" creationId="{19AB2F9E-4684-0522-4915-E83244C7D050}"/>
          </ac:spMkLst>
        </pc:spChg>
        <pc:spChg chg="mod">
          <ac:chgData name="Hsueh-Ning Chao" userId="I32u27yO7tdajtqyP71sKDiQulIz6ic0z1xl0wdhUYk=" providerId="None" clId="Web-{8661B377-3EFA-4603-9FE8-311693BCECDD}" dt="2025-03-06T20:59:00.524" v="58" actId="1076"/>
          <ac:spMkLst>
            <pc:docMk/>
            <pc:sldMk cId="810637578" sldId="263"/>
            <ac:spMk id="10" creationId="{E12A2CB5-31B3-B8A1-AC34-E6539E91DD51}"/>
          </ac:spMkLst>
        </pc:spChg>
        <pc:spChg chg="mod">
          <ac:chgData name="Hsueh-Ning Chao" userId="I32u27yO7tdajtqyP71sKDiQulIz6ic0z1xl0wdhUYk=" providerId="None" clId="Web-{8661B377-3EFA-4603-9FE8-311693BCECDD}" dt="2025-03-06T20:59:22.369" v="61" actId="1076"/>
          <ac:spMkLst>
            <pc:docMk/>
            <pc:sldMk cId="810637578" sldId="263"/>
            <ac:spMk id="12" creationId="{C4D7C6B9-9708-E4DB-DA17-00BBDBB95B30}"/>
          </ac:spMkLst>
        </pc:spChg>
        <pc:spChg chg="mod">
          <ac:chgData name="Hsueh-Ning Chao" userId="I32u27yO7tdajtqyP71sKDiQulIz6ic0z1xl0wdhUYk=" providerId="None" clId="Web-{8661B377-3EFA-4603-9FE8-311693BCECDD}" dt="2025-03-06T20:59:14.103" v="60" actId="1076"/>
          <ac:spMkLst>
            <pc:docMk/>
            <pc:sldMk cId="810637578" sldId="263"/>
            <ac:spMk id="13" creationId="{C60A1247-0AC1-E763-5FF5-906DD09F96E5}"/>
          </ac:spMkLst>
        </pc:spChg>
        <pc:spChg chg="mod">
          <ac:chgData name="Hsueh-Ning Chao" userId="I32u27yO7tdajtqyP71sKDiQulIz6ic0z1xl0wdhUYk=" providerId="None" clId="Web-{8661B377-3EFA-4603-9FE8-311693BCECDD}" dt="2025-03-06T20:43:59.899" v="15" actId="20577"/>
          <ac:spMkLst>
            <pc:docMk/>
            <pc:sldMk cId="810637578" sldId="263"/>
            <ac:spMk id="18" creationId="{1169DDE9-B93C-CBBF-324B-24B2DEF9B9CB}"/>
          </ac:spMkLst>
        </pc:spChg>
      </pc:sldChg>
    </pc:docChg>
  </pc:docChgLst>
  <pc:docChgLst>
    <pc:chgData name="Ananth Mohan" userId="0+ntHPCRoNBLvPdhBUzfljBEc8fje1ZhpS6eiRuEUeE=" providerId="None" clId="Web-{74EE6278-AA5F-4864-8D49-33297B84FBFF}"/>
    <pc:docChg chg="mod modSld">
      <pc:chgData name="Ananth Mohan" userId="0+ntHPCRoNBLvPdhBUzfljBEc8fje1ZhpS6eiRuEUeE=" providerId="None" clId="Web-{74EE6278-AA5F-4864-8D49-33297B84FBFF}" dt="2025-03-06T16:52:26.753" v="78"/>
      <pc:docMkLst>
        <pc:docMk/>
      </pc:docMkLst>
      <pc:sldChg chg="addSp delSp modSp">
        <pc:chgData name="Ananth Mohan" userId="0+ntHPCRoNBLvPdhBUzfljBEc8fje1ZhpS6eiRuEUeE=" providerId="None" clId="Web-{74EE6278-AA5F-4864-8D49-33297B84FBFF}" dt="2025-03-06T16:52:26.753" v="78"/>
        <pc:sldMkLst>
          <pc:docMk/>
          <pc:sldMk cId="810637578" sldId="263"/>
        </pc:sldMkLst>
        <pc:spChg chg="add mod">
          <ac:chgData name="Ananth Mohan" userId="0+ntHPCRoNBLvPdhBUzfljBEc8fje1ZhpS6eiRuEUeE=" providerId="None" clId="Web-{74EE6278-AA5F-4864-8D49-33297B84FBFF}" dt="2025-03-06T16:08:55.659" v="37" actId="20577"/>
          <ac:spMkLst>
            <pc:docMk/>
            <pc:sldMk cId="810637578" sldId="263"/>
            <ac:spMk id="2" creationId="{AFD354AA-5526-C402-F759-0D38C2DFF0AA}"/>
          </ac:spMkLst>
        </pc:spChg>
        <pc:spChg chg="add mod">
          <ac:chgData name="Ananth Mohan" userId="0+ntHPCRoNBLvPdhBUzfljBEc8fje1ZhpS6eiRuEUeE=" providerId="None" clId="Web-{74EE6278-AA5F-4864-8D49-33297B84FBFF}" dt="2025-03-06T16:09:03.612" v="39" actId="1076"/>
          <ac:spMkLst>
            <pc:docMk/>
            <pc:sldMk cId="810637578" sldId="263"/>
            <ac:spMk id="3" creationId="{2400596C-3C37-42AC-3AA8-1D768C694B33}"/>
          </ac:spMkLst>
        </pc:spChg>
        <pc:spChg chg="del">
          <ac:chgData name="Ananth Mohan" userId="0+ntHPCRoNBLvPdhBUzfljBEc8fje1ZhpS6eiRuEUeE=" providerId="None" clId="Web-{74EE6278-AA5F-4864-8D49-33297B84FBFF}" dt="2025-03-06T16:03:45.117" v="2"/>
          <ac:spMkLst>
            <pc:docMk/>
            <pc:sldMk cId="810637578" sldId="263"/>
            <ac:spMk id="23" creationId="{8B6E39C1-7CAD-8C4C-B34E-E99AE4E645C4}"/>
          </ac:spMkLst>
        </pc:spChg>
        <pc:spChg chg="del">
          <ac:chgData name="Ananth Mohan" userId="0+ntHPCRoNBLvPdhBUzfljBEc8fje1ZhpS6eiRuEUeE=" providerId="None" clId="Web-{74EE6278-AA5F-4864-8D49-33297B84FBFF}" dt="2025-03-06T15:53:00.907" v="1"/>
          <ac:spMkLst>
            <pc:docMk/>
            <pc:sldMk cId="810637578" sldId="263"/>
            <ac:spMk id="70" creationId="{6C955C0B-1867-B7E2-BA0D-A850F4EDF155}"/>
          </ac:spMkLst>
        </pc:spChg>
        <pc:spChg chg="mod">
          <ac:chgData name="Ananth Mohan" userId="0+ntHPCRoNBLvPdhBUzfljBEc8fje1ZhpS6eiRuEUeE=" providerId="None" clId="Web-{74EE6278-AA5F-4864-8D49-33297B84FBFF}" dt="2025-03-06T16:08:46.971" v="5" actId="1076"/>
          <ac:spMkLst>
            <pc:docMk/>
            <pc:sldMk cId="810637578" sldId="263"/>
            <ac:spMk id="73" creationId="{3F8DD11A-504B-5C66-CB28-E18A86297C80}"/>
          </ac:spMkLst>
        </pc:spChg>
        <pc:spChg chg="mod">
          <ac:chgData name="Ananth Mohan" userId="0+ntHPCRoNBLvPdhBUzfljBEc8fje1ZhpS6eiRuEUeE=" providerId="None" clId="Web-{74EE6278-AA5F-4864-8D49-33297B84FBFF}" dt="2025-03-06T16:08:47.159" v="6" actId="1076"/>
          <ac:spMkLst>
            <pc:docMk/>
            <pc:sldMk cId="810637578" sldId="263"/>
            <ac:spMk id="74" creationId="{B3C92025-B1C2-DE05-55FF-4193F0FAA7E6}"/>
          </ac:spMkLst>
        </pc:spChg>
        <pc:spChg chg="mod">
          <ac:chgData name="Ananth Mohan" userId="0+ntHPCRoNBLvPdhBUzfljBEc8fje1ZhpS6eiRuEUeE=" providerId="None" clId="Web-{74EE6278-AA5F-4864-8D49-33297B84FBFF}" dt="2025-03-06T16:08:47.346" v="7" actId="1076"/>
          <ac:spMkLst>
            <pc:docMk/>
            <pc:sldMk cId="810637578" sldId="263"/>
            <ac:spMk id="108" creationId="{EB60DA79-98D9-455B-C0D6-1BF683D29B67}"/>
          </ac:spMkLst>
        </pc:spChg>
        <pc:spChg chg="mod">
          <ac:chgData name="Ananth Mohan" userId="0+ntHPCRoNBLvPdhBUzfljBEc8fje1ZhpS6eiRuEUeE=" providerId="None" clId="Web-{74EE6278-AA5F-4864-8D49-33297B84FBFF}" dt="2025-03-06T16:08:47.518" v="8" actId="1076"/>
          <ac:spMkLst>
            <pc:docMk/>
            <pc:sldMk cId="810637578" sldId="263"/>
            <ac:spMk id="110" creationId="{A96DFA2A-AD02-06B6-8283-C65D12DC2FE0}"/>
          </ac:spMkLst>
        </pc:spChg>
        <pc:spChg chg="mod">
          <ac:chgData name="Ananth Mohan" userId="0+ntHPCRoNBLvPdhBUzfljBEc8fje1ZhpS6eiRuEUeE=" providerId="None" clId="Web-{74EE6278-AA5F-4864-8D49-33297B84FBFF}" dt="2025-03-06T16:08:47.706" v="9" actId="1076"/>
          <ac:spMkLst>
            <pc:docMk/>
            <pc:sldMk cId="810637578" sldId="263"/>
            <ac:spMk id="111" creationId="{9D02A781-2653-3BA5-3688-790B147C0918}"/>
          </ac:spMkLst>
        </pc:spChg>
        <pc:spChg chg="mod">
          <ac:chgData name="Ananth Mohan" userId="0+ntHPCRoNBLvPdhBUzfljBEc8fje1ZhpS6eiRuEUeE=" providerId="None" clId="Web-{74EE6278-AA5F-4864-8D49-33297B84FBFF}" dt="2025-03-06T16:08:48.471" v="13" actId="1076"/>
          <ac:spMkLst>
            <pc:docMk/>
            <pc:sldMk cId="810637578" sldId="263"/>
            <ac:spMk id="115" creationId="{B9659D5E-9329-8C4D-19AA-2F3B70CA831A}"/>
          </ac:spMkLst>
        </pc:spChg>
        <pc:spChg chg="mod">
          <ac:chgData name="Ananth Mohan" userId="0+ntHPCRoNBLvPdhBUzfljBEc8fje1ZhpS6eiRuEUeE=" providerId="None" clId="Web-{74EE6278-AA5F-4864-8D49-33297B84FBFF}" dt="2025-03-06T16:08:48.706" v="14" actId="1076"/>
          <ac:spMkLst>
            <pc:docMk/>
            <pc:sldMk cId="810637578" sldId="263"/>
            <ac:spMk id="116" creationId="{A9F259AD-CA66-F76C-A61C-3BC5BA60090A}"/>
          </ac:spMkLst>
        </pc:spChg>
        <pc:spChg chg="mod">
          <ac:chgData name="Ananth Mohan" userId="0+ntHPCRoNBLvPdhBUzfljBEc8fje1ZhpS6eiRuEUeE=" providerId="None" clId="Web-{74EE6278-AA5F-4864-8D49-33297B84FBFF}" dt="2025-03-06T16:08:48.956" v="15" actId="1076"/>
          <ac:spMkLst>
            <pc:docMk/>
            <pc:sldMk cId="810637578" sldId="263"/>
            <ac:spMk id="117" creationId="{69A1A130-C723-FF80-8C52-4585B88A6FCF}"/>
          </ac:spMkLst>
        </pc:spChg>
        <pc:spChg chg="mod">
          <ac:chgData name="Ananth Mohan" userId="0+ntHPCRoNBLvPdhBUzfljBEc8fje1ZhpS6eiRuEUeE=" providerId="None" clId="Web-{74EE6278-AA5F-4864-8D49-33297B84FBFF}" dt="2025-03-06T16:08:49.143" v="16" actId="1076"/>
          <ac:spMkLst>
            <pc:docMk/>
            <pc:sldMk cId="810637578" sldId="263"/>
            <ac:spMk id="118" creationId="{3DD98C7D-5EDC-60EB-67A1-41AEE24ED37B}"/>
          </ac:spMkLst>
        </pc:spChg>
        <pc:spChg chg="mod">
          <ac:chgData name="Ananth Mohan" userId="0+ntHPCRoNBLvPdhBUzfljBEc8fje1ZhpS6eiRuEUeE=" providerId="None" clId="Web-{74EE6278-AA5F-4864-8D49-33297B84FBFF}" dt="2025-03-06T16:08:49.346" v="17" actId="1076"/>
          <ac:spMkLst>
            <pc:docMk/>
            <pc:sldMk cId="810637578" sldId="263"/>
            <ac:spMk id="119" creationId="{79E07C36-DAB6-0085-DC3C-D32BF463B8EC}"/>
          </ac:spMkLst>
        </pc:spChg>
        <pc:spChg chg="mod">
          <ac:chgData name="Ananth Mohan" userId="0+ntHPCRoNBLvPdhBUzfljBEc8fje1ZhpS6eiRuEUeE=" providerId="None" clId="Web-{74EE6278-AA5F-4864-8D49-33297B84FBFF}" dt="2025-03-06T16:08:49.549" v="18" actId="1076"/>
          <ac:spMkLst>
            <pc:docMk/>
            <pc:sldMk cId="810637578" sldId="263"/>
            <ac:spMk id="120" creationId="{5D518FEE-1E32-2924-21B4-CD59FF28FE59}"/>
          </ac:spMkLst>
        </pc:spChg>
        <pc:spChg chg="mod">
          <ac:chgData name="Ananth Mohan" userId="0+ntHPCRoNBLvPdhBUzfljBEc8fje1ZhpS6eiRuEUeE=" providerId="None" clId="Web-{74EE6278-AA5F-4864-8D49-33297B84FBFF}" dt="2025-03-06T16:08:49.737" v="19" actId="1076"/>
          <ac:spMkLst>
            <pc:docMk/>
            <pc:sldMk cId="810637578" sldId="263"/>
            <ac:spMk id="121" creationId="{D9D25C7C-098D-2C8F-07C2-761BEB269C1A}"/>
          </ac:spMkLst>
        </pc:spChg>
        <pc:spChg chg="mod">
          <ac:chgData name="Ananth Mohan" userId="0+ntHPCRoNBLvPdhBUzfljBEc8fje1ZhpS6eiRuEUeE=" providerId="None" clId="Web-{74EE6278-AA5F-4864-8D49-33297B84FBFF}" dt="2025-03-06T16:08:51.362" v="27" actId="1076"/>
          <ac:spMkLst>
            <pc:docMk/>
            <pc:sldMk cId="810637578" sldId="263"/>
            <ac:spMk id="129" creationId="{60379B83-44AA-B82F-BAE2-D5004C843B15}"/>
          </ac:spMkLst>
        </pc:spChg>
        <pc:spChg chg="mod">
          <ac:chgData name="Ananth Mohan" userId="0+ntHPCRoNBLvPdhBUzfljBEc8fje1ZhpS6eiRuEUeE=" providerId="None" clId="Web-{74EE6278-AA5F-4864-8D49-33297B84FBFF}" dt="2025-03-06T16:08:51.549" v="28" actId="1076"/>
          <ac:spMkLst>
            <pc:docMk/>
            <pc:sldMk cId="810637578" sldId="263"/>
            <ac:spMk id="130" creationId="{6BF3D9FB-CFA2-2870-3919-9B65C3D7C247}"/>
          </ac:spMkLst>
        </pc:spChg>
        <pc:spChg chg="mod">
          <ac:chgData name="Ananth Mohan" userId="0+ntHPCRoNBLvPdhBUzfljBEc8fje1ZhpS6eiRuEUeE=" providerId="None" clId="Web-{74EE6278-AA5F-4864-8D49-33297B84FBFF}" dt="2025-03-06T16:08:51.721" v="29" actId="1076"/>
          <ac:spMkLst>
            <pc:docMk/>
            <pc:sldMk cId="810637578" sldId="263"/>
            <ac:spMk id="131" creationId="{819F5578-C28C-FF3C-FBF1-7515909356F6}"/>
          </ac:spMkLst>
        </pc:spChg>
        <pc:spChg chg="mod">
          <ac:chgData name="Ananth Mohan" userId="0+ntHPCRoNBLvPdhBUzfljBEc8fje1ZhpS6eiRuEUeE=" providerId="None" clId="Web-{74EE6278-AA5F-4864-8D49-33297B84FBFF}" dt="2025-03-06T16:08:51.893" v="30" actId="1076"/>
          <ac:spMkLst>
            <pc:docMk/>
            <pc:sldMk cId="810637578" sldId="263"/>
            <ac:spMk id="132" creationId="{75DCE009-7AEF-AAAA-D49D-6B36D9754678}"/>
          </ac:spMkLst>
        </pc:spChg>
        <pc:spChg chg="mod">
          <ac:chgData name="Ananth Mohan" userId="0+ntHPCRoNBLvPdhBUzfljBEc8fje1ZhpS6eiRuEUeE=" providerId="None" clId="Web-{74EE6278-AA5F-4864-8D49-33297B84FBFF}" dt="2025-03-06T16:08:52.065" v="31" actId="1076"/>
          <ac:spMkLst>
            <pc:docMk/>
            <pc:sldMk cId="810637578" sldId="263"/>
            <ac:spMk id="133" creationId="{C4A6260A-6D48-7FD6-FB55-32BA221F86C1}"/>
          </ac:spMkLst>
        </pc:spChg>
        <pc:spChg chg="mod">
          <ac:chgData name="Ananth Mohan" userId="0+ntHPCRoNBLvPdhBUzfljBEc8fje1ZhpS6eiRuEUeE=" providerId="None" clId="Web-{74EE6278-AA5F-4864-8D49-33297B84FBFF}" dt="2025-03-06T16:08:52.253" v="32" actId="1076"/>
          <ac:spMkLst>
            <pc:docMk/>
            <pc:sldMk cId="810637578" sldId="263"/>
            <ac:spMk id="134" creationId="{16139CE1-6FBC-0EB4-DE69-B920371AB29C}"/>
          </ac:spMkLst>
        </pc:spChg>
        <pc:graphicFrameChg chg="mod">
          <ac:chgData name="Ananth Mohan" userId="0+ntHPCRoNBLvPdhBUzfljBEc8fje1ZhpS6eiRuEUeE=" providerId="None" clId="Web-{74EE6278-AA5F-4864-8D49-33297B84FBFF}" dt="2025-03-06T16:08:52.424" v="33" actId="1076"/>
          <ac:graphicFrameMkLst>
            <pc:docMk/>
            <pc:sldMk cId="810637578" sldId="263"/>
            <ac:graphicFrameMk id="137" creationId="{D0909573-BD8B-F1EF-2A78-5D0C57910215}"/>
          </ac:graphicFrameMkLst>
        </pc:graphicFrameChg>
        <pc:picChg chg="add del mod">
          <ac:chgData name="Ananth Mohan" userId="0+ntHPCRoNBLvPdhBUzfljBEc8fje1ZhpS6eiRuEUeE=" providerId="None" clId="Web-{74EE6278-AA5F-4864-8D49-33297B84FBFF}" dt="2025-03-06T16:52:26.753" v="78"/>
          <ac:picMkLst>
            <pc:docMk/>
            <pc:sldMk cId="810637578" sldId="263"/>
            <ac:picMk id="2" creationId="{C8F6F0AE-CD6B-39C1-8646-957F35F924F0}"/>
          </ac:picMkLst>
        </pc:picChg>
        <pc:picChg chg="add mod">
          <ac:chgData name="Ananth Mohan" userId="0+ntHPCRoNBLvPdhBUzfljBEc8fje1ZhpS6eiRuEUeE=" providerId="None" clId="Web-{74EE6278-AA5F-4864-8D49-33297B84FBFF}" dt="2025-03-06T16:33:06.740" v="60" actId="1076"/>
          <ac:picMkLst>
            <pc:docMk/>
            <pc:sldMk cId="810637578" sldId="263"/>
            <ac:picMk id="6" creationId="{17FC9AB6-0368-7A10-7759-A5B77B50E4C2}"/>
          </ac:picMkLst>
        </pc:picChg>
        <pc:picChg chg="del">
          <ac:chgData name="Ananth Mohan" userId="0+ntHPCRoNBLvPdhBUzfljBEc8fje1ZhpS6eiRuEUeE=" providerId="None" clId="Web-{74EE6278-AA5F-4864-8D49-33297B84FBFF}" dt="2025-03-06T16:32:36.771" v="49"/>
          <ac:picMkLst>
            <pc:docMk/>
            <pc:sldMk cId="810637578" sldId="263"/>
            <ac:picMk id="11" creationId="{5CEB51BA-5881-D549-60AF-4870ECD70C5A}"/>
          </ac:picMkLst>
        </pc:picChg>
        <pc:picChg chg="del">
          <ac:chgData name="Ananth Mohan" userId="0+ntHPCRoNBLvPdhBUzfljBEc8fje1ZhpS6eiRuEUeE=" providerId="None" clId="Web-{74EE6278-AA5F-4864-8D49-33297B84FBFF}" dt="2025-03-06T16:28:55.544" v="42"/>
          <ac:picMkLst>
            <pc:docMk/>
            <pc:sldMk cId="810637578" sldId="263"/>
            <ac:picMk id="14" creationId="{6224BDD1-FAF0-9A21-BF6A-DF8B4A47D61B}"/>
          </ac:picMkLst>
        </pc:picChg>
        <pc:picChg chg="del">
          <ac:chgData name="Ananth Mohan" userId="0+ntHPCRoNBLvPdhBUzfljBEc8fje1ZhpS6eiRuEUeE=" providerId="None" clId="Web-{74EE6278-AA5F-4864-8D49-33297B84FBFF}" dt="2025-03-06T16:34:37.415" v="70"/>
          <ac:picMkLst>
            <pc:docMk/>
            <pc:sldMk cId="810637578" sldId="263"/>
            <ac:picMk id="15" creationId="{923026DB-A4E5-FCF9-020E-4C2F1E7B2462}"/>
          </ac:picMkLst>
        </pc:picChg>
        <pc:picChg chg="del">
          <ac:chgData name="Ananth Mohan" userId="0+ntHPCRoNBLvPdhBUzfljBEc8fje1ZhpS6eiRuEUeE=" providerId="None" clId="Web-{74EE6278-AA5F-4864-8D49-33297B84FBFF}" dt="2025-03-06T16:33:38.929" v="61"/>
          <ac:picMkLst>
            <pc:docMk/>
            <pc:sldMk cId="810637578" sldId="263"/>
            <ac:picMk id="16" creationId="{3C6A8745-4B29-E4D2-D1E9-684C52AA7365}"/>
          </ac:picMkLst>
        </pc:picChg>
        <pc:picChg chg="del">
          <ac:chgData name="Ananth Mohan" userId="0+ntHPCRoNBLvPdhBUzfljBEc8fje1ZhpS6eiRuEUeE=" providerId="None" clId="Web-{74EE6278-AA5F-4864-8D49-33297B84FBFF}" dt="2025-03-06T16:35:27.698" v="72"/>
          <ac:picMkLst>
            <pc:docMk/>
            <pc:sldMk cId="810637578" sldId="263"/>
            <ac:picMk id="17" creationId="{C346959D-8835-646C-5803-3D7AB133250D}"/>
          </ac:picMkLst>
        </pc:picChg>
        <pc:picChg chg="add mod">
          <ac:chgData name="Ananth Mohan" userId="0+ntHPCRoNBLvPdhBUzfljBEc8fje1ZhpS6eiRuEUeE=" providerId="None" clId="Web-{74EE6278-AA5F-4864-8D49-33297B84FBFF}" dt="2025-03-06T16:33:04.021" v="59" actId="1076"/>
          <ac:picMkLst>
            <pc:docMk/>
            <pc:sldMk cId="810637578" sldId="263"/>
            <ac:picMk id="19" creationId="{8CC48D3F-FACA-D61A-D8D7-53B58A14805E}"/>
          </ac:picMkLst>
        </pc:picChg>
        <pc:picChg chg="add mod">
          <ac:chgData name="Ananth Mohan" userId="0+ntHPCRoNBLvPdhBUzfljBEc8fje1ZhpS6eiRuEUeE=" providerId="None" clId="Web-{74EE6278-AA5F-4864-8D49-33297B84FBFF}" dt="2025-03-06T16:33:50.601" v="65" actId="1076"/>
          <ac:picMkLst>
            <pc:docMk/>
            <pc:sldMk cId="810637578" sldId="263"/>
            <ac:picMk id="20" creationId="{610A73A9-1EBF-8AC9-CDBE-6649694F9C76}"/>
          </ac:picMkLst>
        </pc:picChg>
        <pc:picChg chg="add mod">
          <ac:chgData name="Ananth Mohan" userId="0+ntHPCRoNBLvPdhBUzfljBEc8fje1ZhpS6eiRuEUeE=" providerId="None" clId="Web-{74EE6278-AA5F-4864-8D49-33297B84FBFF}" dt="2025-03-06T16:34:40.822" v="71" actId="1076"/>
          <ac:picMkLst>
            <pc:docMk/>
            <pc:sldMk cId="810637578" sldId="263"/>
            <ac:picMk id="21" creationId="{296A8129-2C09-0036-03D9-B21FEE148C45}"/>
          </ac:picMkLst>
        </pc:picChg>
        <pc:picChg chg="add del mod">
          <ac:chgData name="Ananth Mohan" userId="0+ntHPCRoNBLvPdhBUzfljBEc8fje1ZhpS6eiRuEUeE=" providerId="None" clId="Web-{74EE6278-AA5F-4864-8D49-33297B84FBFF}" dt="2025-03-06T16:35:31.761" v="75"/>
          <ac:picMkLst>
            <pc:docMk/>
            <pc:sldMk cId="810637578" sldId="263"/>
            <ac:picMk id="24" creationId="{5FDB4B0A-7248-BF4F-77C6-6D0B41284EB1}"/>
          </ac:picMkLst>
        </pc:picChg>
        <pc:picChg chg="mod modCrop">
          <ac:chgData name="Ananth Mohan" userId="0+ntHPCRoNBLvPdhBUzfljBEc8fje1ZhpS6eiRuEUeE=" providerId="None" clId="Web-{74EE6278-AA5F-4864-8D49-33297B84FBFF}" dt="2025-03-06T16:04:11.727" v="4"/>
          <ac:picMkLst>
            <pc:docMk/>
            <pc:sldMk cId="810637578" sldId="263"/>
            <ac:picMk id="59" creationId="{B78321B7-5E39-1C22-6A23-BC66110E5587}"/>
          </ac:picMkLst>
        </pc:picChg>
        <pc:cxnChg chg="mod">
          <ac:chgData name="Ananth Mohan" userId="0+ntHPCRoNBLvPdhBUzfljBEc8fje1ZhpS6eiRuEUeE=" providerId="None" clId="Web-{74EE6278-AA5F-4864-8D49-33297B84FBFF}" dt="2025-03-06T16:08:47.877" v="10" actId="1076"/>
          <ac:cxnSpMkLst>
            <pc:docMk/>
            <pc:sldMk cId="810637578" sldId="263"/>
            <ac:cxnSpMk id="112" creationId="{F04EE867-59A4-2182-DEA3-36A1EA703473}"/>
          </ac:cxnSpMkLst>
        </pc:cxnChg>
        <pc:cxnChg chg="mod">
          <ac:chgData name="Ananth Mohan" userId="0+ntHPCRoNBLvPdhBUzfljBEc8fje1ZhpS6eiRuEUeE=" providerId="None" clId="Web-{74EE6278-AA5F-4864-8D49-33297B84FBFF}" dt="2025-03-06T16:08:48.049" v="11" actId="1076"/>
          <ac:cxnSpMkLst>
            <pc:docMk/>
            <pc:sldMk cId="810637578" sldId="263"/>
            <ac:cxnSpMk id="113" creationId="{5E5A2571-1F5E-25CE-F944-00E136C2851E}"/>
          </ac:cxnSpMkLst>
        </pc:cxnChg>
        <pc:cxnChg chg="mod">
          <ac:chgData name="Ananth Mohan" userId="0+ntHPCRoNBLvPdhBUzfljBEc8fje1ZhpS6eiRuEUeE=" providerId="None" clId="Web-{74EE6278-AA5F-4864-8D49-33297B84FBFF}" dt="2025-03-06T16:08:48.237" v="12" actId="1076"/>
          <ac:cxnSpMkLst>
            <pc:docMk/>
            <pc:sldMk cId="810637578" sldId="263"/>
            <ac:cxnSpMk id="114" creationId="{DD5F55B4-B28C-7265-C7EA-362D5B1ECF3C}"/>
          </ac:cxnSpMkLst>
        </pc:cxnChg>
        <pc:cxnChg chg="mod">
          <ac:chgData name="Ananth Mohan" userId="0+ntHPCRoNBLvPdhBUzfljBEc8fje1ZhpS6eiRuEUeE=" providerId="None" clId="Web-{74EE6278-AA5F-4864-8D49-33297B84FBFF}" dt="2025-03-06T16:08:49.940" v="20" actId="1076"/>
          <ac:cxnSpMkLst>
            <pc:docMk/>
            <pc:sldMk cId="810637578" sldId="263"/>
            <ac:cxnSpMk id="122" creationId="{092A37AD-D2B2-A27C-0407-1E96893A3521}"/>
          </ac:cxnSpMkLst>
        </pc:cxnChg>
        <pc:cxnChg chg="mod">
          <ac:chgData name="Ananth Mohan" userId="0+ntHPCRoNBLvPdhBUzfljBEc8fje1ZhpS6eiRuEUeE=" providerId="None" clId="Web-{74EE6278-AA5F-4864-8D49-33297B84FBFF}" dt="2025-03-06T16:08:50.174" v="21" actId="1076"/>
          <ac:cxnSpMkLst>
            <pc:docMk/>
            <pc:sldMk cId="810637578" sldId="263"/>
            <ac:cxnSpMk id="123" creationId="{36FC00C8-59F4-ACB4-763C-5DAF0D65617A}"/>
          </ac:cxnSpMkLst>
        </pc:cxnChg>
        <pc:cxnChg chg="mod">
          <ac:chgData name="Ananth Mohan" userId="0+ntHPCRoNBLvPdhBUzfljBEc8fje1ZhpS6eiRuEUeE=" providerId="None" clId="Web-{74EE6278-AA5F-4864-8D49-33297B84FBFF}" dt="2025-03-06T16:08:50.393" v="22" actId="1076"/>
          <ac:cxnSpMkLst>
            <pc:docMk/>
            <pc:sldMk cId="810637578" sldId="263"/>
            <ac:cxnSpMk id="124" creationId="{D5B52A4D-3C69-3AC1-3890-F25949BA3115}"/>
          </ac:cxnSpMkLst>
        </pc:cxnChg>
        <pc:cxnChg chg="mod">
          <ac:chgData name="Ananth Mohan" userId="0+ntHPCRoNBLvPdhBUzfljBEc8fje1ZhpS6eiRuEUeE=" providerId="None" clId="Web-{74EE6278-AA5F-4864-8D49-33297B84FBFF}" dt="2025-03-06T16:08:50.581" v="23" actId="1076"/>
          <ac:cxnSpMkLst>
            <pc:docMk/>
            <pc:sldMk cId="810637578" sldId="263"/>
            <ac:cxnSpMk id="125" creationId="{6657D9BB-77A0-9EC1-6C97-7887620B6319}"/>
          </ac:cxnSpMkLst>
        </pc:cxnChg>
        <pc:cxnChg chg="mod">
          <ac:chgData name="Ananth Mohan" userId="0+ntHPCRoNBLvPdhBUzfljBEc8fje1ZhpS6eiRuEUeE=" providerId="None" clId="Web-{74EE6278-AA5F-4864-8D49-33297B84FBFF}" dt="2025-03-06T16:08:50.784" v="24" actId="1076"/>
          <ac:cxnSpMkLst>
            <pc:docMk/>
            <pc:sldMk cId="810637578" sldId="263"/>
            <ac:cxnSpMk id="126" creationId="{0128F74C-6693-A08E-9012-744AC98B0552}"/>
          </ac:cxnSpMkLst>
        </pc:cxnChg>
        <pc:cxnChg chg="mod">
          <ac:chgData name="Ananth Mohan" userId="0+ntHPCRoNBLvPdhBUzfljBEc8fje1ZhpS6eiRuEUeE=" providerId="None" clId="Web-{74EE6278-AA5F-4864-8D49-33297B84FBFF}" dt="2025-03-06T16:08:50.987" v="25" actId="1076"/>
          <ac:cxnSpMkLst>
            <pc:docMk/>
            <pc:sldMk cId="810637578" sldId="263"/>
            <ac:cxnSpMk id="127" creationId="{12F8D7B1-E073-670F-B999-75316A7918DA}"/>
          </ac:cxnSpMkLst>
        </pc:cxnChg>
        <pc:cxnChg chg="mod">
          <ac:chgData name="Ananth Mohan" userId="0+ntHPCRoNBLvPdhBUzfljBEc8fje1ZhpS6eiRuEUeE=" providerId="None" clId="Web-{74EE6278-AA5F-4864-8D49-33297B84FBFF}" dt="2025-03-06T16:08:51.174" v="26" actId="1076"/>
          <ac:cxnSpMkLst>
            <pc:docMk/>
            <pc:sldMk cId="810637578" sldId="263"/>
            <ac:cxnSpMk id="128" creationId="{7A869B25-CDA9-DC13-702B-3A8FEFD88CB7}"/>
          </ac:cxnSpMkLst>
        </pc:cxnChg>
      </pc:sldChg>
    </pc:docChg>
  </pc:docChgLst>
  <pc:docChgLst>
    <pc:chgData name="Farha Shireen" userId="K9hHn9oINz5vZ9EtNhWdkbocU8fYfQRPeYvfmnVYJ7Q=" providerId="None" clId="Web-{1C040699-D51A-495F-A819-ABE5A0A25BCD}"/>
    <pc:docChg chg="modSld">
      <pc:chgData name="Farha Shireen" userId="K9hHn9oINz5vZ9EtNhWdkbocU8fYfQRPeYvfmnVYJ7Q=" providerId="None" clId="Web-{1C040699-D51A-495F-A819-ABE5A0A25BCD}" dt="2025-03-06T17:05:10.973" v="8" actId="20577"/>
      <pc:docMkLst>
        <pc:docMk/>
      </pc:docMkLst>
      <pc:sldChg chg="addSp modSp">
        <pc:chgData name="Farha Shireen" userId="K9hHn9oINz5vZ9EtNhWdkbocU8fYfQRPeYvfmnVYJ7Q=" providerId="None" clId="Web-{1C040699-D51A-495F-A819-ABE5A0A25BCD}" dt="2025-03-06T17:05:10.973" v="8" actId="20577"/>
        <pc:sldMkLst>
          <pc:docMk/>
          <pc:sldMk cId="810637578" sldId="263"/>
        </pc:sldMkLst>
        <pc:spChg chg="add mod">
          <ac:chgData name="Farha Shireen" userId="K9hHn9oINz5vZ9EtNhWdkbocU8fYfQRPeYvfmnVYJ7Q=" providerId="None" clId="Web-{1C040699-D51A-495F-A819-ABE5A0A25BCD}" dt="2025-03-06T17:05:10.973" v="8" actId="20577"/>
          <ac:spMkLst>
            <pc:docMk/>
            <pc:sldMk cId="810637578" sldId="263"/>
            <ac:spMk id="2" creationId="{32CC5A80-0450-772D-9231-C5665C60D606}"/>
          </ac:spMkLst>
        </pc:spChg>
      </pc:sldChg>
    </pc:docChg>
  </pc:docChgLst>
  <pc:docChgLst>
    <pc:chgData name="Hsueh-Ning Chao" userId="I32u27yO7tdajtqyP71sKDiQulIz6ic0z1xl0wdhUYk=" providerId="None" clId="Web-{ACCA25C0-C3B7-4332-A16E-1382381816BE}"/>
    <pc:docChg chg="modSld">
      <pc:chgData name="Hsueh-Ning Chao" userId="I32u27yO7tdajtqyP71sKDiQulIz6ic0z1xl0wdhUYk=" providerId="None" clId="Web-{ACCA25C0-C3B7-4332-A16E-1382381816BE}" dt="2025-03-06T21:10:12.361" v="22" actId="20577"/>
      <pc:docMkLst>
        <pc:docMk/>
      </pc:docMkLst>
      <pc:sldChg chg="modSp">
        <pc:chgData name="Hsueh-Ning Chao" userId="I32u27yO7tdajtqyP71sKDiQulIz6ic0z1xl0wdhUYk=" providerId="None" clId="Web-{ACCA25C0-C3B7-4332-A16E-1382381816BE}" dt="2025-03-06T21:10:12.361" v="22" actId="20577"/>
        <pc:sldMkLst>
          <pc:docMk/>
          <pc:sldMk cId="810637578" sldId="263"/>
        </pc:sldMkLst>
        <pc:spChg chg="mod">
          <ac:chgData name="Hsueh-Ning Chao" userId="I32u27yO7tdajtqyP71sKDiQulIz6ic0z1xl0wdhUYk=" providerId="None" clId="Web-{ACCA25C0-C3B7-4332-A16E-1382381816BE}" dt="2025-03-06T21:02:07.545" v="17" actId="1076"/>
          <ac:spMkLst>
            <pc:docMk/>
            <pc:sldMk cId="810637578" sldId="263"/>
            <ac:spMk id="2" creationId="{88F2FE2B-1AC0-B312-A5E1-1825B6C48F64}"/>
          </ac:spMkLst>
        </pc:spChg>
        <pc:spChg chg="mod">
          <ac:chgData name="Hsueh-Ning Chao" userId="I32u27yO7tdajtqyP71sKDiQulIz6ic0z1xl0wdhUYk=" providerId="None" clId="Web-{ACCA25C0-C3B7-4332-A16E-1382381816BE}" dt="2025-03-06T21:10:12.361" v="22" actId="20577"/>
          <ac:spMkLst>
            <pc:docMk/>
            <pc:sldMk cId="810637578" sldId="263"/>
            <ac:spMk id="5" creationId="{D4253DBF-C5E1-107A-A92F-3342904DDE9F}"/>
          </ac:spMkLst>
        </pc:spChg>
        <pc:spChg chg="mod">
          <ac:chgData name="Hsueh-Ning Chao" userId="I32u27yO7tdajtqyP71sKDiQulIz6ic0z1xl0wdhUYk=" providerId="None" clId="Web-{ACCA25C0-C3B7-4332-A16E-1382381816BE}" dt="2025-03-06T21:02:04.108" v="2" actId="1076"/>
          <ac:spMkLst>
            <pc:docMk/>
            <pc:sldMk cId="810637578" sldId="263"/>
            <ac:spMk id="17" creationId="{C9B4D23D-7D0A-5D8B-63F7-3F63C3CE303F}"/>
          </ac:spMkLst>
        </pc:spChg>
        <pc:spChg chg="mod">
          <ac:chgData name="Hsueh-Ning Chao" userId="I32u27yO7tdajtqyP71sKDiQulIz6ic0z1xl0wdhUYk=" providerId="None" clId="Web-{ACCA25C0-C3B7-4332-A16E-1382381816BE}" dt="2025-03-06T21:02:04.561" v="4" actId="1076"/>
          <ac:spMkLst>
            <pc:docMk/>
            <pc:sldMk cId="810637578" sldId="263"/>
            <ac:spMk id="29" creationId="{5EB35800-EDB5-0BBE-2A57-90700E72F066}"/>
          </ac:spMkLst>
        </pc:spChg>
        <pc:spChg chg="mod">
          <ac:chgData name="Hsueh-Ning Chao" userId="I32u27yO7tdajtqyP71sKDiQulIz6ic0z1xl0wdhUYk=" providerId="None" clId="Web-{ACCA25C0-C3B7-4332-A16E-1382381816BE}" dt="2025-03-06T21:02:04.998" v="6" actId="1076"/>
          <ac:spMkLst>
            <pc:docMk/>
            <pc:sldMk cId="810637578" sldId="263"/>
            <ac:spMk id="31" creationId="{3663D265-9D7B-DEF2-B11B-426B2958C548}"/>
          </ac:spMkLst>
        </pc:spChg>
        <pc:spChg chg="mod">
          <ac:chgData name="Hsueh-Ning Chao" userId="I32u27yO7tdajtqyP71sKDiQulIz6ic0z1xl0wdhUYk=" providerId="None" clId="Web-{ACCA25C0-C3B7-4332-A16E-1382381816BE}" dt="2025-03-06T21:02:05.217" v="7" actId="1076"/>
          <ac:spMkLst>
            <pc:docMk/>
            <pc:sldMk cId="810637578" sldId="263"/>
            <ac:spMk id="32" creationId="{EAE3474C-EF93-7076-2819-D97501639379}"/>
          </ac:spMkLst>
        </pc:spChg>
        <pc:spChg chg="mod">
          <ac:chgData name="Hsueh-Ning Chao" userId="I32u27yO7tdajtqyP71sKDiQulIz6ic0z1xl0wdhUYk=" providerId="None" clId="Web-{ACCA25C0-C3B7-4332-A16E-1382381816BE}" dt="2025-03-06T21:02:05.655" v="9" actId="1076"/>
          <ac:spMkLst>
            <pc:docMk/>
            <pc:sldMk cId="810637578" sldId="263"/>
            <ac:spMk id="36" creationId="{61F725B3-72D9-2F4A-317E-CF50B6717014}"/>
          </ac:spMkLst>
        </pc:spChg>
        <pc:spChg chg="mod">
          <ac:chgData name="Hsueh-Ning Chao" userId="I32u27yO7tdajtqyP71sKDiQulIz6ic0z1xl0wdhUYk=" providerId="None" clId="Web-{ACCA25C0-C3B7-4332-A16E-1382381816BE}" dt="2025-03-06T21:02:06.108" v="11" actId="1076"/>
          <ac:spMkLst>
            <pc:docMk/>
            <pc:sldMk cId="810637578" sldId="263"/>
            <ac:spMk id="38" creationId="{8E5015FF-F211-562D-8964-40A7D926CFF2}"/>
          </ac:spMkLst>
        </pc:spChg>
        <pc:spChg chg="mod">
          <ac:chgData name="Hsueh-Ning Chao" userId="I32u27yO7tdajtqyP71sKDiQulIz6ic0z1xl0wdhUYk=" providerId="None" clId="Web-{ACCA25C0-C3B7-4332-A16E-1382381816BE}" dt="2025-03-06T21:02:06.358" v="12" actId="1076"/>
          <ac:spMkLst>
            <pc:docMk/>
            <pc:sldMk cId="810637578" sldId="263"/>
            <ac:spMk id="40" creationId="{586908C8-A80F-26A9-5444-7B8EDE5DD7C1}"/>
          </ac:spMkLst>
        </pc:spChg>
        <pc:spChg chg="mod">
          <ac:chgData name="Hsueh-Ning Chao" userId="I32u27yO7tdajtqyP71sKDiQulIz6ic0z1xl0wdhUYk=" providerId="None" clId="Web-{ACCA25C0-C3B7-4332-A16E-1382381816BE}" dt="2025-03-06T21:02:06.592" v="13" actId="1076"/>
          <ac:spMkLst>
            <pc:docMk/>
            <pc:sldMk cId="810637578" sldId="263"/>
            <ac:spMk id="41" creationId="{916027A0-46FA-9047-D46C-A9D1352A0B91}"/>
          </ac:spMkLst>
        </pc:spChg>
        <pc:spChg chg="mod">
          <ac:chgData name="Hsueh-Ning Chao" userId="I32u27yO7tdajtqyP71sKDiQulIz6ic0z1xl0wdhUYk=" providerId="None" clId="Web-{ACCA25C0-C3B7-4332-A16E-1382381816BE}" dt="2025-03-06T21:02:06.858" v="14" actId="1076"/>
          <ac:spMkLst>
            <pc:docMk/>
            <pc:sldMk cId="810637578" sldId="263"/>
            <ac:spMk id="42" creationId="{AB35A3B5-8C6B-4D74-B51E-09AEEAB2B56B}"/>
          </ac:spMkLst>
        </pc:spChg>
        <pc:spChg chg="mod">
          <ac:chgData name="Hsueh-Ning Chao" userId="I32u27yO7tdajtqyP71sKDiQulIz6ic0z1xl0wdhUYk=" providerId="None" clId="Web-{ACCA25C0-C3B7-4332-A16E-1382381816BE}" dt="2025-03-06T21:02:07.077" v="15" actId="1076"/>
          <ac:spMkLst>
            <pc:docMk/>
            <pc:sldMk cId="810637578" sldId="263"/>
            <ac:spMk id="43" creationId="{8AF17DBA-7AFC-10E1-F1C6-FCC2122CC960}"/>
          </ac:spMkLst>
        </pc:spChg>
        <pc:spChg chg="mod">
          <ac:chgData name="Hsueh-Ning Chao" userId="I32u27yO7tdajtqyP71sKDiQulIz6ic0z1xl0wdhUYk=" providerId="None" clId="Web-{ACCA25C0-C3B7-4332-A16E-1382381816BE}" dt="2025-03-06T21:01:51.888" v="0" actId="1076"/>
          <ac:spMkLst>
            <pc:docMk/>
            <pc:sldMk cId="810637578" sldId="263"/>
            <ac:spMk id="44" creationId="{F3358298-A61B-585C-693F-B9E05EA84E2B}"/>
          </ac:spMkLst>
        </pc:spChg>
        <pc:spChg chg="mod">
          <ac:chgData name="Hsueh-Ning Chao" userId="I32u27yO7tdajtqyP71sKDiQulIz6ic0z1xl0wdhUYk=" providerId="None" clId="Web-{ACCA25C0-C3B7-4332-A16E-1382381816BE}" dt="2025-03-06T21:02:07.311" v="16" actId="1076"/>
          <ac:spMkLst>
            <pc:docMk/>
            <pc:sldMk cId="810637578" sldId="263"/>
            <ac:spMk id="45" creationId="{5F69154B-9145-BDC6-96D4-3D313DBD9140}"/>
          </ac:spMkLst>
        </pc:spChg>
        <pc:spChg chg="mod">
          <ac:chgData name="Hsueh-Ning Chao" userId="I32u27yO7tdajtqyP71sKDiQulIz6ic0z1xl0wdhUYk=" providerId="None" clId="Web-{ACCA25C0-C3B7-4332-A16E-1382381816BE}" dt="2025-03-06T21:02:08.623" v="18" actId="1076"/>
          <ac:spMkLst>
            <pc:docMk/>
            <pc:sldMk cId="810637578" sldId="263"/>
            <ac:spMk id="52" creationId="{8EEC4C13-5D83-4B2A-C1AF-78E482124E2E}"/>
          </ac:spMkLst>
        </pc:spChg>
        <pc:picChg chg="mod">
          <ac:chgData name="Hsueh-Ning Chao" userId="I32u27yO7tdajtqyP71sKDiQulIz6ic0z1xl0wdhUYk=" providerId="None" clId="Web-{ACCA25C0-C3B7-4332-A16E-1382381816BE}" dt="2025-03-06T21:02:03.889" v="1" actId="1076"/>
          <ac:picMkLst>
            <pc:docMk/>
            <pc:sldMk cId="810637578" sldId="263"/>
            <ac:picMk id="16" creationId="{0625277F-6D8C-8DFF-9705-C4FABB0C845A}"/>
          </ac:picMkLst>
        </pc:picChg>
        <pc:picChg chg="mod">
          <ac:chgData name="Hsueh-Ning Chao" userId="I32u27yO7tdajtqyP71sKDiQulIz6ic0z1xl0wdhUYk=" providerId="None" clId="Web-{ACCA25C0-C3B7-4332-A16E-1382381816BE}" dt="2025-03-06T21:02:04.326" v="3" actId="1076"/>
          <ac:picMkLst>
            <pc:docMk/>
            <pc:sldMk cId="810637578" sldId="263"/>
            <ac:picMk id="28" creationId="{F8F74898-DD82-7EBE-304E-9C8EEDC013C6}"/>
          </ac:picMkLst>
        </pc:picChg>
        <pc:picChg chg="mod">
          <ac:chgData name="Hsueh-Ning Chao" userId="I32u27yO7tdajtqyP71sKDiQulIz6ic0z1xl0wdhUYk=" providerId="None" clId="Web-{ACCA25C0-C3B7-4332-A16E-1382381816BE}" dt="2025-03-06T21:02:04.780" v="5" actId="1076"/>
          <ac:picMkLst>
            <pc:docMk/>
            <pc:sldMk cId="810637578" sldId="263"/>
            <ac:picMk id="30" creationId="{03E30BE5-B3CB-A039-9301-F5CFE726B255}"/>
          </ac:picMkLst>
        </pc:picChg>
        <pc:picChg chg="mod">
          <ac:chgData name="Hsueh-Ning Chao" userId="I32u27yO7tdajtqyP71sKDiQulIz6ic0z1xl0wdhUYk=" providerId="None" clId="Web-{ACCA25C0-C3B7-4332-A16E-1382381816BE}" dt="2025-03-06T21:02:05.420" v="8" actId="1076"/>
          <ac:picMkLst>
            <pc:docMk/>
            <pc:sldMk cId="810637578" sldId="263"/>
            <ac:picMk id="34" creationId="{6F317624-54BB-CAB1-F192-71909F611D1B}"/>
          </ac:picMkLst>
        </pc:picChg>
        <pc:picChg chg="mod">
          <ac:chgData name="Hsueh-Ning Chao" userId="I32u27yO7tdajtqyP71sKDiQulIz6ic0z1xl0wdhUYk=" providerId="None" clId="Web-{ACCA25C0-C3B7-4332-A16E-1382381816BE}" dt="2025-03-06T21:02:05.889" v="10" actId="1076"/>
          <ac:picMkLst>
            <pc:docMk/>
            <pc:sldMk cId="810637578" sldId="263"/>
            <ac:picMk id="37" creationId="{5431A585-6875-16F5-88DB-A9E4E339787C}"/>
          </ac:picMkLst>
        </pc:picChg>
      </pc:sldChg>
    </pc:docChg>
  </pc:docChgLst>
  <pc:docChgLst>
    <pc:chgData name="Ananth Mohan" userId="0+ntHPCRoNBLvPdhBUzfljBEc8fje1ZhpS6eiRuEUeE=" providerId="None" clId="Web-{05CE92FA-8E1E-4A6E-B0AB-B589AC4643DE}"/>
    <pc:docChg chg="modSld">
      <pc:chgData name="Ananth Mohan" userId="0+ntHPCRoNBLvPdhBUzfljBEc8fje1ZhpS6eiRuEUeE=" providerId="None" clId="Web-{05CE92FA-8E1E-4A6E-B0AB-B589AC4643DE}" dt="2025-03-26T17:00:27.266" v="17" actId="1076"/>
      <pc:docMkLst>
        <pc:docMk/>
      </pc:docMkLst>
      <pc:sldChg chg="addSp delSp modSp">
        <pc:chgData name="Ananth Mohan" userId="0+ntHPCRoNBLvPdhBUzfljBEc8fje1ZhpS6eiRuEUeE=" providerId="None" clId="Web-{05CE92FA-8E1E-4A6E-B0AB-B589AC4643DE}" dt="2025-03-26T17:00:27.266" v="17" actId="1076"/>
        <pc:sldMkLst>
          <pc:docMk/>
          <pc:sldMk cId="810637578" sldId="263"/>
        </pc:sldMkLst>
        <pc:picChg chg="mod">
          <ac:chgData name="Ananth Mohan" userId="0+ntHPCRoNBLvPdhBUzfljBEc8fje1ZhpS6eiRuEUeE=" providerId="None" clId="Web-{05CE92FA-8E1E-4A6E-B0AB-B589AC4643DE}" dt="2025-03-26T17:00:27.032" v="16" actId="1076"/>
          <ac:picMkLst>
            <pc:docMk/>
            <pc:sldMk cId="810637578" sldId="263"/>
            <ac:picMk id="85" creationId="{009ABF52-6B39-FE8A-90E5-ED0C27EF6EDE}"/>
          </ac:picMkLst>
        </pc:picChg>
        <pc:picChg chg="mod">
          <ac:chgData name="Ananth Mohan" userId="0+ntHPCRoNBLvPdhBUzfljBEc8fje1ZhpS6eiRuEUeE=" providerId="None" clId="Web-{05CE92FA-8E1E-4A6E-B0AB-B589AC4643DE}" dt="2025-03-26T17:00:26.079" v="12" actId="1076"/>
          <ac:picMkLst>
            <pc:docMk/>
            <pc:sldMk cId="810637578" sldId="263"/>
            <ac:picMk id="96" creationId="{8A1E435C-3168-AB10-5837-83EECFA6D9F8}"/>
          </ac:picMkLst>
        </pc:picChg>
        <pc:picChg chg="mod">
          <ac:chgData name="Ananth Mohan" userId="0+ntHPCRoNBLvPdhBUzfljBEc8fje1ZhpS6eiRuEUeE=" providerId="None" clId="Web-{05CE92FA-8E1E-4A6E-B0AB-B589AC4643DE}" dt="2025-03-26T17:00:16.876" v="5" actId="1076"/>
          <ac:picMkLst>
            <pc:docMk/>
            <pc:sldMk cId="810637578" sldId="263"/>
            <ac:picMk id="104" creationId="{FC64191F-787D-F12F-E95D-E6A87AAFD11E}"/>
          </ac:picMkLst>
        </pc:picChg>
        <pc:picChg chg="add mod">
          <ac:chgData name="Ananth Mohan" userId="0+ntHPCRoNBLvPdhBUzfljBEc8fje1ZhpS6eiRuEUeE=" providerId="None" clId="Web-{05CE92FA-8E1E-4A6E-B0AB-B589AC4643DE}" dt="2025-03-26T17:00:27.266" v="17" actId="1076"/>
          <ac:picMkLst>
            <pc:docMk/>
            <pc:sldMk cId="810637578" sldId="263"/>
            <ac:picMk id="113" creationId="{D7E98399-819B-8F1B-DC68-F5F6E9C0C9E3}"/>
          </ac:picMkLst>
        </pc:picChg>
        <pc:picChg chg="del">
          <ac:chgData name="Ananth Mohan" userId="0+ntHPCRoNBLvPdhBUzfljBEc8fje1ZhpS6eiRuEUeE=" providerId="None" clId="Web-{05CE92FA-8E1E-4A6E-B0AB-B589AC4643DE}" dt="2025-03-26T16:59:54.079" v="2"/>
          <ac:picMkLst>
            <pc:docMk/>
            <pc:sldMk cId="810637578" sldId="263"/>
            <ac:picMk id="136" creationId="{DDDEC562-1A15-82CB-8875-D1F5928D56B3}"/>
          </ac:picMkLst>
        </pc:picChg>
        <pc:picChg chg="mod">
          <ac:chgData name="Ananth Mohan" userId="0+ntHPCRoNBLvPdhBUzfljBEc8fje1ZhpS6eiRuEUeE=" providerId="None" clId="Web-{05CE92FA-8E1E-4A6E-B0AB-B589AC4643DE}" dt="2025-03-26T17:00:26.298" v="13" actId="1076"/>
          <ac:picMkLst>
            <pc:docMk/>
            <pc:sldMk cId="810637578" sldId="263"/>
            <ac:picMk id="141" creationId="{79FB5AEB-3DAD-1FFE-EEE8-34DE8B2D4409}"/>
          </ac:picMkLst>
        </pc:picChg>
        <pc:picChg chg="mod">
          <ac:chgData name="Ananth Mohan" userId="0+ntHPCRoNBLvPdhBUzfljBEc8fje1ZhpS6eiRuEUeE=" providerId="None" clId="Web-{05CE92FA-8E1E-4A6E-B0AB-B589AC4643DE}" dt="2025-03-26T17:00:26.548" v="14" actId="1076"/>
          <ac:picMkLst>
            <pc:docMk/>
            <pc:sldMk cId="810637578" sldId="263"/>
            <ac:picMk id="143" creationId="{AEF9494A-AD3C-E933-30A9-D6F8742DB88D}"/>
          </ac:picMkLst>
        </pc:picChg>
        <pc:picChg chg="mod">
          <ac:chgData name="Ananth Mohan" userId="0+ntHPCRoNBLvPdhBUzfljBEc8fje1ZhpS6eiRuEUeE=" providerId="None" clId="Web-{05CE92FA-8E1E-4A6E-B0AB-B589AC4643DE}" dt="2025-03-26T17:00:17.563" v="8" actId="1076"/>
          <ac:picMkLst>
            <pc:docMk/>
            <pc:sldMk cId="810637578" sldId="263"/>
            <ac:picMk id="145" creationId="{0F46F35B-A7FD-2D13-1A05-D60E19736906}"/>
          </ac:picMkLst>
        </pc:picChg>
        <pc:picChg chg="mod">
          <ac:chgData name="Ananth Mohan" userId="0+ntHPCRoNBLvPdhBUzfljBEc8fje1ZhpS6eiRuEUeE=" providerId="None" clId="Web-{05CE92FA-8E1E-4A6E-B0AB-B589AC4643DE}" dt="2025-03-26T17:00:26.782" v="15" actId="1076"/>
          <ac:picMkLst>
            <pc:docMk/>
            <pc:sldMk cId="810637578" sldId="263"/>
            <ac:picMk id="146" creationId="{42F02FF9-5933-F2E5-3055-58B04F0127B2}"/>
          </ac:picMkLst>
        </pc:picChg>
      </pc:sldChg>
    </pc:docChg>
  </pc:docChgLst>
  <pc:docChgLst>
    <pc:chgData name="Shih Min Lin" userId="EZMguJyP4QRPSMfRfjN+Y1sL5Ac+4RMpWotTWDpLLe0=" providerId="None" clId="Web-{2218CBDE-1682-4375-A9AE-BC8B8911AC75}"/>
    <pc:docChg chg="modSld">
      <pc:chgData name="Shih Min Lin" userId="EZMguJyP4QRPSMfRfjN+Y1sL5Ac+4RMpWotTWDpLLe0=" providerId="None" clId="Web-{2218CBDE-1682-4375-A9AE-BC8B8911AC75}" dt="2025-03-06T20:12:07.636" v="59" actId="1076"/>
      <pc:docMkLst>
        <pc:docMk/>
      </pc:docMkLst>
      <pc:sldChg chg="addSp delSp modSp modCm">
        <pc:chgData name="Shih Min Lin" userId="EZMguJyP4QRPSMfRfjN+Y1sL5Ac+4RMpWotTWDpLLe0=" providerId="None" clId="Web-{2218CBDE-1682-4375-A9AE-BC8B8911AC75}" dt="2025-03-06T20:12:07.636" v="59" actId="1076"/>
        <pc:sldMkLst>
          <pc:docMk/>
          <pc:sldMk cId="810637578" sldId="263"/>
        </pc:sldMkLst>
        <pc:spChg chg="mod">
          <ac:chgData name="Shih Min Lin" userId="EZMguJyP4QRPSMfRfjN+Y1sL5Ac+4RMpWotTWDpLLe0=" providerId="None" clId="Web-{2218CBDE-1682-4375-A9AE-BC8B8911AC75}" dt="2025-03-06T20:05:19.903" v="52" actId="1076"/>
          <ac:spMkLst>
            <pc:docMk/>
            <pc:sldMk cId="810637578" sldId="263"/>
            <ac:spMk id="18" creationId="{1169DDE9-B93C-CBBF-324B-24B2DEF9B9CB}"/>
          </ac:spMkLst>
        </pc:spChg>
        <pc:spChg chg="add mod">
          <ac:chgData name="Shih Min Lin" userId="EZMguJyP4QRPSMfRfjN+Y1sL5Ac+4RMpWotTWDpLLe0=" providerId="None" clId="Web-{2218CBDE-1682-4375-A9AE-BC8B8911AC75}" dt="2025-03-06T19:50:27.545" v="25" actId="1076"/>
          <ac:spMkLst>
            <pc:docMk/>
            <pc:sldMk cId="810637578" sldId="263"/>
            <ac:spMk id="35" creationId="{91B69CFA-4206-66AF-2A07-747605122BB8}"/>
          </ac:spMkLst>
        </pc:spChg>
        <pc:spChg chg="del mod">
          <ac:chgData name="Shih Min Lin" userId="EZMguJyP4QRPSMfRfjN+Y1sL5Ac+4RMpWotTWDpLLe0=" providerId="None" clId="Web-{2218CBDE-1682-4375-A9AE-BC8B8911AC75}" dt="2025-03-06T19:51:41.342" v="42"/>
          <ac:spMkLst>
            <pc:docMk/>
            <pc:sldMk cId="810637578" sldId="263"/>
            <ac:spMk id="76" creationId="{B8194EFC-3FB3-082B-92AF-0F0A7A88B170}"/>
          </ac:spMkLst>
        </pc:spChg>
        <pc:spChg chg="mod">
          <ac:chgData name="Shih Min Lin" userId="EZMguJyP4QRPSMfRfjN+Y1sL5Ac+4RMpWotTWDpLLe0=" providerId="None" clId="Web-{2218CBDE-1682-4375-A9AE-BC8B8911AC75}" dt="2025-03-06T19:37:23.485" v="4" actId="1076"/>
          <ac:spMkLst>
            <pc:docMk/>
            <pc:sldMk cId="810637578" sldId="263"/>
            <ac:spMk id="77" creationId="{7D0B9666-3719-1805-B13B-7CFFAA25FC5F}"/>
          </ac:spMkLst>
        </pc:spChg>
        <pc:spChg chg="add mod">
          <ac:chgData name="Shih Min Lin" userId="EZMguJyP4QRPSMfRfjN+Y1sL5Ac+4RMpWotTWDpLLe0=" providerId="None" clId="Web-{2218CBDE-1682-4375-A9AE-BC8B8911AC75}" dt="2025-03-06T20:12:07.636" v="59" actId="1076"/>
          <ac:spMkLst>
            <pc:docMk/>
            <pc:sldMk cId="810637578" sldId="263"/>
            <ac:spMk id="87" creationId="{8CCB822F-761C-CC27-87F8-029A1489A5EA}"/>
          </ac:spMkLst>
        </pc:spChg>
        <pc:spChg chg="add mod">
          <ac:chgData name="Shih Min Lin" userId="EZMguJyP4QRPSMfRfjN+Y1sL5Ac+4RMpWotTWDpLLe0=" providerId="None" clId="Web-{2218CBDE-1682-4375-A9AE-BC8B8911AC75}" dt="2025-03-06T19:51:57.029" v="47" actId="1076"/>
          <ac:spMkLst>
            <pc:docMk/>
            <pc:sldMk cId="810637578" sldId="263"/>
            <ac:spMk id="93" creationId="{B355F0C5-E4DB-B25E-429E-9E8232286901}"/>
          </ac:spMkLst>
        </pc:spChg>
        <pc:spChg chg="del mod">
          <ac:chgData name="Shih Min Lin" userId="EZMguJyP4QRPSMfRfjN+Y1sL5Ac+4RMpWotTWDpLLe0=" providerId="None" clId="Web-{2218CBDE-1682-4375-A9AE-BC8B8911AC75}" dt="2025-03-06T19:56:41.153" v="51"/>
          <ac:spMkLst>
            <pc:docMk/>
            <pc:sldMk cId="810637578" sldId="263"/>
            <ac:spMk id="103" creationId="{70F836BC-EFEA-1515-9EE8-F659DEC408F4}"/>
          </ac:spMkLst>
        </pc:spChg>
        <pc:spChg chg="mod">
          <ac:chgData name="Shih Min Lin" userId="EZMguJyP4QRPSMfRfjN+Y1sL5Ac+4RMpWotTWDpLLe0=" providerId="None" clId="Web-{2218CBDE-1682-4375-A9AE-BC8B8911AC75}" dt="2025-03-06T19:50:33.451" v="27" actId="1076"/>
          <ac:spMkLst>
            <pc:docMk/>
            <pc:sldMk cId="810637578" sldId="263"/>
            <ac:spMk id="105" creationId="{F3F38A43-0A4B-88AD-6539-02458E1CB45C}"/>
          </ac:spMkLst>
        </pc:spChg>
        <pc:spChg chg="mod">
          <ac:chgData name="Shih Min Lin" userId="EZMguJyP4QRPSMfRfjN+Y1sL5Ac+4RMpWotTWDpLLe0=" providerId="None" clId="Web-{2218CBDE-1682-4375-A9AE-BC8B8911AC75}" dt="2025-03-06T19:36:56.016" v="0" actId="1076"/>
          <ac:spMkLst>
            <pc:docMk/>
            <pc:sldMk cId="810637578" sldId="263"/>
            <ac:spMk id="106" creationId="{9C71C168-F78F-D512-FE12-4A0575D8FD56}"/>
          </ac:spMkLst>
        </pc:spChg>
        <pc:spChg chg="mod">
          <ac:chgData name="Shih Min Lin" userId="EZMguJyP4QRPSMfRfjN+Y1sL5Ac+4RMpWotTWDpLLe0=" providerId="None" clId="Web-{2218CBDE-1682-4375-A9AE-BC8B8911AC75}" dt="2025-03-06T19:36:56.172" v="1" actId="1076"/>
          <ac:spMkLst>
            <pc:docMk/>
            <pc:sldMk cId="810637578" sldId="263"/>
            <ac:spMk id="107" creationId="{EB9A831C-D977-1EE7-2F6C-B58C2FD1B355}"/>
          </ac:spMkLst>
        </pc:spChg>
        <pc:grpChg chg="add del mod">
          <ac:chgData name="Shih Min Lin" userId="EZMguJyP4QRPSMfRfjN+Y1sL5Ac+4RMpWotTWDpLLe0=" providerId="None" clId="Web-{2218CBDE-1682-4375-A9AE-BC8B8911AC75}" dt="2025-03-06T19:45:25.593" v="11"/>
          <ac:grpSpMkLst>
            <pc:docMk/>
            <pc:sldMk cId="810637578" sldId="263"/>
            <ac:grpSpMk id="87" creationId="{F445A3B6-1B86-F73A-B2D6-E38FF3BD4E20}"/>
          </ac:grpSpMkLst>
        </pc:grpChg>
        <pc:grpChg chg="add mod">
          <ac:chgData name="Shih Min Lin" userId="EZMguJyP4QRPSMfRfjN+Y1sL5Ac+4RMpWotTWDpLLe0=" providerId="None" clId="Web-{2218CBDE-1682-4375-A9AE-BC8B8911AC75}" dt="2025-03-06T20:12:03.808" v="58" actId="1076"/>
          <ac:grpSpMkLst>
            <pc:docMk/>
            <pc:sldMk cId="810637578" sldId="263"/>
            <ac:grpSpMk id="92" creationId="{8E2C802D-9017-2B1C-065A-FBF42B648649}"/>
          </ac:grpSpMkLst>
        </pc:grpChg>
        <pc:picChg chg="mod">
          <ac:chgData name="Shih Min Lin" userId="EZMguJyP4QRPSMfRfjN+Y1sL5Ac+4RMpWotTWDpLLe0=" providerId="None" clId="Web-{2218CBDE-1682-4375-A9AE-BC8B8911AC75}" dt="2025-03-06T20:05:20.668" v="57" actId="1076"/>
          <ac:picMkLst>
            <pc:docMk/>
            <pc:sldMk cId="810637578" sldId="263"/>
            <ac:picMk id="3" creationId="{FAED5053-9F42-7076-66D3-0D0D992E7E7D}"/>
          </ac:picMkLst>
        </pc:picChg>
        <pc:picChg chg="mod">
          <ac:chgData name="Shih Min Lin" userId="EZMguJyP4QRPSMfRfjN+Y1sL5Ac+4RMpWotTWDpLLe0=" providerId="None" clId="Web-{2218CBDE-1682-4375-A9AE-BC8B8911AC75}" dt="2025-03-06T20:05:20.059" v="53" actId="1076"/>
          <ac:picMkLst>
            <pc:docMk/>
            <pc:sldMk cId="810637578" sldId="263"/>
            <ac:picMk id="6" creationId="{17FC9AB6-0368-7A10-7759-A5B77B50E4C2}"/>
          </ac:picMkLst>
        </pc:picChg>
        <pc:picChg chg="topLvl">
          <ac:chgData name="Shih Min Lin" userId="EZMguJyP4QRPSMfRfjN+Y1sL5Ac+4RMpWotTWDpLLe0=" providerId="None" clId="Web-{2218CBDE-1682-4375-A9AE-BC8B8911AC75}" dt="2025-03-06T19:45:25.593" v="11"/>
          <ac:picMkLst>
            <pc:docMk/>
            <pc:sldMk cId="810637578" sldId="263"/>
            <ac:picMk id="11" creationId="{E53BAB70-3E70-BC6F-E734-F90FBAFBC948}"/>
          </ac:picMkLst>
        </pc:picChg>
        <pc:picChg chg="mod">
          <ac:chgData name="Shih Min Lin" userId="EZMguJyP4QRPSMfRfjN+Y1sL5Ac+4RMpWotTWDpLLe0=" providerId="None" clId="Web-{2218CBDE-1682-4375-A9AE-BC8B8911AC75}" dt="2025-03-06T20:05:20.199" v="54" actId="1076"/>
          <ac:picMkLst>
            <pc:docMk/>
            <pc:sldMk cId="810637578" sldId="263"/>
            <ac:picMk id="19" creationId="{8CC48D3F-FACA-D61A-D8D7-53B58A14805E}"/>
          </ac:picMkLst>
        </pc:picChg>
        <pc:picChg chg="mod">
          <ac:chgData name="Shih Min Lin" userId="EZMguJyP4QRPSMfRfjN+Y1sL5Ac+4RMpWotTWDpLLe0=" providerId="None" clId="Web-{2218CBDE-1682-4375-A9AE-BC8B8911AC75}" dt="2025-03-06T20:05:20.356" v="55" actId="1076"/>
          <ac:picMkLst>
            <pc:docMk/>
            <pc:sldMk cId="810637578" sldId="263"/>
            <ac:picMk id="20" creationId="{610A73A9-1EBF-8AC9-CDBE-6649694F9C76}"/>
          </ac:picMkLst>
        </pc:picChg>
        <pc:picChg chg="mod">
          <ac:chgData name="Shih Min Lin" userId="EZMguJyP4QRPSMfRfjN+Y1sL5Ac+4RMpWotTWDpLLe0=" providerId="None" clId="Web-{2218CBDE-1682-4375-A9AE-BC8B8911AC75}" dt="2025-03-06T20:05:20.512" v="56" actId="1076"/>
          <ac:picMkLst>
            <pc:docMk/>
            <pc:sldMk cId="810637578" sldId="263"/>
            <ac:picMk id="21" creationId="{296A8129-2C09-0036-03D9-B21FEE148C45}"/>
          </ac:picMkLst>
        </pc:picChg>
        <pc:picChg chg="topLvl">
          <ac:chgData name="Shih Min Lin" userId="EZMguJyP4QRPSMfRfjN+Y1sL5Ac+4RMpWotTWDpLLe0=" providerId="None" clId="Web-{2218CBDE-1682-4375-A9AE-BC8B8911AC75}" dt="2025-03-06T19:45:25.593" v="11"/>
          <ac:picMkLst>
            <pc:docMk/>
            <pc:sldMk cId="810637578" sldId="263"/>
            <ac:picMk id="142" creationId="{DABE15AA-65F6-C2FF-5359-00773F310C94}"/>
          </ac:picMkLst>
        </pc:picChg>
        <pc:extLst>
          <p:ext xmlns:p="http://schemas.openxmlformats.org/presentationml/2006/main" uri="{D6D511B9-2390-475A-947B-AFAB55BFBCF1}">
            <pc226:cmChg xmlns:pc226="http://schemas.microsoft.com/office/powerpoint/2022/06/main/command" chg="mod">
              <pc226:chgData name="Shih Min Lin" userId="EZMguJyP4QRPSMfRfjN+Y1sL5Ac+4RMpWotTWDpLLe0=" providerId="None" clId="Web-{2218CBDE-1682-4375-A9AE-BC8B8911AC75}" dt="2025-03-06T19:50:10.920" v="22"/>
              <pc2:cmMkLst xmlns:pc2="http://schemas.microsoft.com/office/powerpoint/2019/9/main/command">
                <pc:docMk/>
                <pc:sldMk cId="810637578" sldId="263"/>
                <pc2:cmMk id="{E0558DB1-E828-415A-BF3F-74D97FC8535A}"/>
              </pc2:cmMkLst>
            </pc226:cmChg>
          </p:ext>
        </pc:extLst>
      </pc:sldChg>
    </pc:docChg>
  </pc:docChgLst>
  <pc:docChgLst>
    <pc:chgData name="Yijun Wang" userId="Of/0Pj+qBr5fypY8jeq4N4QA/9LywGn1V9GniuUBQzk=" providerId="None" clId="Web-{37F10BA2-07CF-4AD5-A946-C6DA5192F6A2}"/>
    <pc:docChg chg="modSld">
      <pc:chgData name="Yijun Wang" userId="Of/0Pj+qBr5fypY8jeq4N4QA/9LywGn1V9GniuUBQzk=" providerId="None" clId="Web-{37F10BA2-07CF-4AD5-A946-C6DA5192F6A2}" dt="2025-03-06T16:37:44.617" v="1"/>
      <pc:docMkLst>
        <pc:docMk/>
      </pc:docMkLst>
      <pc:sldChg chg="modSp">
        <pc:chgData name="Yijun Wang" userId="Of/0Pj+qBr5fypY8jeq4N4QA/9LywGn1V9GniuUBQzk=" providerId="None" clId="Web-{37F10BA2-07CF-4AD5-A946-C6DA5192F6A2}" dt="2025-03-06T16:37:44.617" v="1"/>
        <pc:sldMkLst>
          <pc:docMk/>
          <pc:sldMk cId="810637578" sldId="263"/>
        </pc:sldMkLst>
        <pc:graphicFrameChg chg="modGraphic">
          <ac:chgData name="Yijun Wang" userId="Of/0Pj+qBr5fypY8jeq4N4QA/9LywGn1V9GniuUBQzk=" providerId="None" clId="Web-{37F10BA2-07CF-4AD5-A946-C6DA5192F6A2}" dt="2025-03-06T16:37:44.617" v="1"/>
          <ac:graphicFrameMkLst>
            <pc:docMk/>
            <pc:sldMk cId="810637578" sldId="263"/>
            <ac:graphicFrameMk id="22" creationId="{5B594D09-B3D6-9151-40B6-4E402FEABE42}"/>
          </ac:graphicFrameMkLst>
        </pc:graphicFrameChg>
      </pc:sldChg>
    </pc:docChg>
  </pc:docChgLst>
  <pc:docChgLst>
    <pc:chgData name="Ananth Mohan" userId="0+ntHPCRoNBLvPdhBUzfljBEc8fje1ZhpS6eiRuEUeE=" providerId="None" clId="Web-{C23D21C3-919F-4673-893F-9028A87D197E}"/>
    <pc:docChg chg="modSld">
      <pc:chgData name="Ananth Mohan" userId="0+ntHPCRoNBLvPdhBUzfljBEc8fje1ZhpS6eiRuEUeE=" providerId="None" clId="Web-{C23D21C3-919F-4673-893F-9028A87D197E}" dt="2025-02-28T14:11:59.346" v="518" actId="20577"/>
      <pc:docMkLst>
        <pc:docMk/>
      </pc:docMkLst>
      <pc:sldChg chg="addSp delSp modSp">
        <pc:chgData name="Ananth Mohan" userId="0+ntHPCRoNBLvPdhBUzfljBEc8fje1ZhpS6eiRuEUeE=" providerId="None" clId="Web-{C23D21C3-919F-4673-893F-9028A87D197E}" dt="2025-02-28T14:11:59.346" v="518" actId="20577"/>
        <pc:sldMkLst>
          <pc:docMk/>
          <pc:sldMk cId="810637578" sldId="263"/>
        </pc:sldMkLst>
        <pc:spChg chg="mod">
          <ac:chgData name="Ananth Mohan" userId="0+ntHPCRoNBLvPdhBUzfljBEc8fje1ZhpS6eiRuEUeE=" providerId="None" clId="Web-{C23D21C3-919F-4673-893F-9028A87D197E}" dt="2025-02-28T14:11:59.346" v="518" actId="20577"/>
          <ac:spMkLst>
            <pc:docMk/>
            <pc:sldMk cId="810637578" sldId="263"/>
            <ac:spMk id="7" creationId="{299ECDEE-127D-9631-CFAC-5C6299E4ECA3}"/>
          </ac:spMkLst>
        </pc:spChg>
        <pc:spChg chg="mod">
          <ac:chgData name="Ananth Mohan" userId="0+ntHPCRoNBLvPdhBUzfljBEc8fje1ZhpS6eiRuEUeE=" providerId="None" clId="Web-{C23D21C3-919F-4673-893F-9028A87D197E}" dt="2025-02-28T05:55:43.773" v="277" actId="20577"/>
          <ac:spMkLst>
            <pc:docMk/>
            <pc:sldMk cId="810637578" sldId="263"/>
            <ac:spMk id="9" creationId="{19AB2F9E-4684-0522-4915-E83244C7D050}"/>
          </ac:spMkLst>
        </pc:spChg>
        <pc:spChg chg="mod">
          <ac:chgData name="Ananth Mohan" userId="0+ntHPCRoNBLvPdhBUzfljBEc8fje1ZhpS6eiRuEUeE=" providerId="None" clId="Web-{C23D21C3-919F-4673-893F-9028A87D197E}" dt="2025-02-27T19:23:17.007" v="18" actId="20577"/>
          <ac:spMkLst>
            <pc:docMk/>
            <pc:sldMk cId="810637578" sldId="263"/>
            <ac:spMk id="10" creationId="{E12A2CB5-31B3-B8A1-AC34-E6539E91DD51}"/>
          </ac:spMkLst>
        </pc:spChg>
        <pc:spChg chg="mod">
          <ac:chgData name="Ananth Mohan" userId="0+ntHPCRoNBLvPdhBUzfljBEc8fje1ZhpS6eiRuEUeE=" providerId="None" clId="Web-{C23D21C3-919F-4673-893F-9028A87D197E}" dt="2025-02-28T05:55:47.492" v="278" actId="20577"/>
          <ac:spMkLst>
            <pc:docMk/>
            <pc:sldMk cId="810637578" sldId="263"/>
            <ac:spMk id="12" creationId="{C4D7C6B9-9708-E4DB-DA17-00BBDBB95B30}"/>
          </ac:spMkLst>
        </pc:spChg>
        <pc:spChg chg="mod">
          <ac:chgData name="Ananth Mohan" userId="0+ntHPCRoNBLvPdhBUzfljBEc8fje1ZhpS6eiRuEUeE=" providerId="None" clId="Web-{C23D21C3-919F-4673-893F-9028A87D197E}" dt="2025-02-28T05:27:20.764" v="76" actId="14100"/>
          <ac:spMkLst>
            <pc:docMk/>
            <pc:sldMk cId="810637578" sldId="263"/>
            <ac:spMk id="13" creationId="{C60A1247-0AC1-E763-5FF5-906DD09F96E5}"/>
          </ac:spMkLst>
        </pc:spChg>
        <pc:spChg chg="add mod topLvl">
          <ac:chgData name="Ananth Mohan" userId="0+ntHPCRoNBLvPdhBUzfljBEc8fje1ZhpS6eiRuEUeE=" providerId="None" clId="Web-{C23D21C3-919F-4673-893F-9028A87D197E}" dt="2025-02-28T05:26:00.227" v="63" actId="1076"/>
          <ac:spMkLst>
            <pc:docMk/>
            <pc:sldMk cId="810637578" sldId="263"/>
            <ac:spMk id="18" creationId="{1169DDE9-B93C-CBBF-324B-24B2DEF9B9CB}"/>
          </ac:spMkLst>
        </pc:spChg>
        <pc:spChg chg="mod">
          <ac:chgData name="Ananth Mohan" userId="0+ntHPCRoNBLvPdhBUzfljBEc8fje1ZhpS6eiRuEUeE=" providerId="None" clId="Web-{C23D21C3-919F-4673-893F-9028A87D197E}" dt="2025-02-27T19:24:15.665" v="34" actId="20577"/>
          <ac:spMkLst>
            <pc:docMk/>
            <pc:sldMk cId="810637578" sldId="263"/>
            <ac:spMk id="44" creationId="{F3358298-A61B-585C-693F-B9E05EA84E2B}"/>
          </ac:spMkLst>
        </pc:spChg>
        <pc:spChg chg="mod">
          <ac:chgData name="Ananth Mohan" userId="0+ntHPCRoNBLvPdhBUzfljBEc8fje1ZhpS6eiRuEUeE=" providerId="None" clId="Web-{C23D21C3-919F-4673-893F-9028A87D197E}" dt="2025-02-28T05:55:54.148" v="279" actId="20577"/>
          <ac:spMkLst>
            <pc:docMk/>
            <pc:sldMk cId="810637578" sldId="263"/>
            <ac:spMk id="46" creationId="{128408B0-2E53-67DC-0B76-B79941F975F2}"/>
          </ac:spMkLst>
        </pc:spChg>
        <pc:spChg chg="mod">
          <ac:chgData name="Ananth Mohan" userId="0+ntHPCRoNBLvPdhBUzfljBEc8fje1ZhpS6eiRuEUeE=" providerId="None" clId="Web-{C23D21C3-919F-4673-893F-9028A87D197E}" dt="2025-02-28T05:55:58.102" v="280" actId="20577"/>
          <ac:spMkLst>
            <pc:docMk/>
            <pc:sldMk cId="810637578" sldId="263"/>
            <ac:spMk id="48" creationId="{4DE82104-B1AB-67A3-78DD-417745282239}"/>
          </ac:spMkLst>
        </pc:spChg>
        <pc:spChg chg="mod">
          <ac:chgData name="Ananth Mohan" userId="0+ntHPCRoNBLvPdhBUzfljBEc8fje1ZhpS6eiRuEUeE=" providerId="None" clId="Web-{C23D21C3-919F-4673-893F-9028A87D197E}" dt="2025-02-28T05:56:42.245" v="293" actId="1076"/>
          <ac:spMkLst>
            <pc:docMk/>
            <pc:sldMk cId="810637578" sldId="263"/>
            <ac:spMk id="49" creationId="{607C8AF3-E134-057E-35D7-F14B9338B342}"/>
          </ac:spMkLst>
        </pc:spChg>
        <pc:spChg chg="mod">
          <ac:chgData name="Ananth Mohan" userId="0+ntHPCRoNBLvPdhBUzfljBEc8fje1ZhpS6eiRuEUeE=" providerId="None" clId="Web-{C23D21C3-919F-4673-893F-9028A87D197E}" dt="2025-02-28T06:27:51.774" v="344" actId="1076"/>
          <ac:spMkLst>
            <pc:docMk/>
            <pc:sldMk cId="810637578" sldId="263"/>
            <ac:spMk id="51" creationId="{D60EAE86-D34C-9612-FF86-85375F86FD4F}"/>
          </ac:spMkLst>
        </pc:spChg>
        <pc:spChg chg="add mod">
          <ac:chgData name="Ananth Mohan" userId="0+ntHPCRoNBLvPdhBUzfljBEc8fje1ZhpS6eiRuEUeE=" providerId="None" clId="Web-{C23D21C3-919F-4673-893F-9028A87D197E}" dt="2025-02-28T06:31:30.361" v="432" actId="20577"/>
          <ac:spMkLst>
            <pc:docMk/>
            <pc:sldMk cId="810637578" sldId="263"/>
            <ac:spMk id="54" creationId="{96285D32-63D2-BBC3-B488-C151D1F0FA8F}"/>
          </ac:spMkLst>
        </pc:spChg>
        <pc:spChg chg="add mod">
          <ac:chgData name="Ananth Mohan" userId="0+ntHPCRoNBLvPdhBUzfljBEc8fje1ZhpS6eiRuEUeE=" providerId="None" clId="Web-{C23D21C3-919F-4673-893F-9028A87D197E}" dt="2025-02-28T06:28:58.121" v="396"/>
          <ac:spMkLst>
            <pc:docMk/>
            <pc:sldMk cId="810637578" sldId="263"/>
            <ac:spMk id="57" creationId="{DA33BF2E-7506-5BF9-24BC-2D7B48DA7F2B}"/>
          </ac:spMkLst>
        </pc:spChg>
        <pc:spChg chg="add mod">
          <ac:chgData name="Ananth Mohan" userId="0+ntHPCRoNBLvPdhBUzfljBEc8fje1ZhpS6eiRuEUeE=" providerId="None" clId="Web-{C23D21C3-919F-4673-893F-9028A87D197E}" dt="2025-02-28T06:29:40.216" v="413"/>
          <ac:spMkLst>
            <pc:docMk/>
            <pc:sldMk cId="810637578" sldId="263"/>
            <ac:spMk id="62" creationId="{9F4391FC-E34A-9C75-C366-27C595140A9E}"/>
          </ac:spMkLst>
        </pc:spChg>
        <pc:spChg chg="add mod">
          <ac:chgData name="Ananth Mohan" userId="0+ntHPCRoNBLvPdhBUzfljBEc8fje1ZhpS6eiRuEUeE=" providerId="None" clId="Web-{C23D21C3-919F-4673-893F-9028A87D197E}" dt="2025-02-28T06:31:03.079" v="426" actId="1076"/>
          <ac:spMkLst>
            <pc:docMk/>
            <pc:sldMk cId="810637578" sldId="263"/>
            <ac:spMk id="64" creationId="{D5E1E239-23AD-C382-9F30-A42E6BC0F904}"/>
          </ac:spMkLst>
        </pc:spChg>
        <pc:spChg chg="add mod">
          <ac:chgData name="Ananth Mohan" userId="0+ntHPCRoNBLvPdhBUzfljBEc8fje1ZhpS6eiRuEUeE=" providerId="None" clId="Web-{C23D21C3-919F-4673-893F-9028A87D197E}" dt="2025-02-28T06:29:40.216" v="414"/>
          <ac:spMkLst>
            <pc:docMk/>
            <pc:sldMk cId="810637578" sldId="263"/>
            <ac:spMk id="67" creationId="{5E5B07BD-E5E4-575D-CAD2-935AC7A56F5B}"/>
          </ac:spMkLst>
        </pc:spChg>
        <pc:spChg chg="add mod">
          <ac:chgData name="Ananth Mohan" userId="0+ntHPCRoNBLvPdhBUzfljBEc8fje1ZhpS6eiRuEUeE=" providerId="None" clId="Web-{C23D21C3-919F-4673-893F-9028A87D197E}" dt="2025-02-28T06:29:40.747" v="415"/>
          <ac:spMkLst>
            <pc:docMk/>
            <pc:sldMk cId="810637578" sldId="263"/>
            <ac:spMk id="68" creationId="{7D5FEDDA-C278-F1AA-CD8E-5B00104C1BCA}"/>
          </ac:spMkLst>
        </pc:spChg>
        <pc:spChg chg="add mod">
          <ac:chgData name="Ananth Mohan" userId="0+ntHPCRoNBLvPdhBUzfljBEc8fje1ZhpS6eiRuEUeE=" providerId="None" clId="Web-{C23D21C3-919F-4673-893F-9028A87D197E}" dt="2025-02-28T06:32:10.628" v="440" actId="1076"/>
          <ac:spMkLst>
            <pc:docMk/>
            <pc:sldMk cId="810637578" sldId="263"/>
            <ac:spMk id="72" creationId="{A273EECD-5827-45C7-0516-A08EBF059C6F}"/>
          </ac:spMkLst>
        </pc:spChg>
        <pc:spChg chg="add mod">
          <ac:chgData name="Ananth Mohan" userId="0+ntHPCRoNBLvPdhBUzfljBEc8fje1ZhpS6eiRuEUeE=" providerId="None" clId="Web-{C23D21C3-919F-4673-893F-9028A87D197E}" dt="2025-02-28T06:33:22.401" v="449" actId="20577"/>
          <ac:spMkLst>
            <pc:docMk/>
            <pc:sldMk cId="810637578" sldId="263"/>
            <ac:spMk id="73" creationId="{3F8DD11A-504B-5C66-CB28-E18A86297C80}"/>
          </ac:spMkLst>
        </pc:spChg>
        <pc:spChg chg="mod">
          <ac:chgData name="Ananth Mohan" userId="0+ntHPCRoNBLvPdhBUzfljBEc8fje1ZhpS6eiRuEUeE=" providerId="None" clId="Web-{C23D21C3-919F-4673-893F-9028A87D197E}" dt="2025-02-28T06:33:36.902" v="451" actId="1076"/>
          <ac:spMkLst>
            <pc:docMk/>
            <pc:sldMk cId="810637578" sldId="263"/>
            <ac:spMk id="74" creationId="{B3C92025-B1C2-DE05-55FF-4193F0FAA7E6}"/>
          </ac:spMkLst>
        </pc:spChg>
        <pc:spChg chg="mod">
          <ac:chgData name="Ananth Mohan" userId="0+ntHPCRoNBLvPdhBUzfljBEc8fje1ZhpS6eiRuEUeE=" providerId="None" clId="Web-{C23D21C3-919F-4673-893F-9028A87D197E}" dt="2025-02-28T05:56:09.634" v="285" actId="20577"/>
          <ac:spMkLst>
            <pc:docMk/>
            <pc:sldMk cId="810637578" sldId="263"/>
            <ac:spMk id="75" creationId="{93F3C628-36B3-04B5-05D2-77C7E4E26711}"/>
          </ac:spMkLst>
        </pc:spChg>
        <pc:spChg chg="mod">
          <ac:chgData name="Ananth Mohan" userId="0+ntHPCRoNBLvPdhBUzfljBEc8fje1ZhpS6eiRuEUeE=" providerId="None" clId="Web-{C23D21C3-919F-4673-893F-9028A87D197E}" dt="2025-02-28T05:56:15.353" v="288" actId="20577"/>
          <ac:spMkLst>
            <pc:docMk/>
            <pc:sldMk cId="810637578" sldId="263"/>
            <ac:spMk id="77" creationId="{7D0B9666-3719-1805-B13B-7CFFAA25FC5F}"/>
          </ac:spMkLst>
        </pc:spChg>
        <pc:spChg chg="mod">
          <ac:chgData name="Ananth Mohan" userId="0+ntHPCRoNBLvPdhBUzfljBEc8fje1ZhpS6eiRuEUeE=" providerId="None" clId="Web-{C23D21C3-919F-4673-893F-9028A87D197E}" dt="2025-02-28T05:56:19.525" v="290" actId="20577"/>
          <ac:spMkLst>
            <pc:docMk/>
            <pc:sldMk cId="810637578" sldId="263"/>
            <ac:spMk id="106" creationId="{9C71C168-F78F-D512-FE12-4A0575D8FD56}"/>
          </ac:spMkLst>
        </pc:spChg>
        <pc:spChg chg="mod">
          <ac:chgData name="Ananth Mohan" userId="0+ntHPCRoNBLvPdhBUzfljBEc8fje1ZhpS6eiRuEUeE=" providerId="None" clId="Web-{C23D21C3-919F-4673-893F-9028A87D197E}" dt="2025-02-28T06:34:35.076" v="499"/>
          <ac:spMkLst>
            <pc:docMk/>
            <pc:sldMk cId="810637578" sldId="263"/>
            <ac:spMk id="108" creationId="{EB60DA79-98D9-455B-C0D6-1BF683D29B67}"/>
          </ac:spMkLst>
        </pc:spChg>
        <pc:spChg chg="mod">
          <ac:chgData name="Ananth Mohan" userId="0+ntHPCRoNBLvPdhBUzfljBEc8fje1ZhpS6eiRuEUeE=" providerId="None" clId="Web-{C23D21C3-919F-4673-893F-9028A87D197E}" dt="2025-02-28T06:34:35.076" v="500"/>
          <ac:spMkLst>
            <pc:docMk/>
            <pc:sldMk cId="810637578" sldId="263"/>
            <ac:spMk id="110" creationId="{A96DFA2A-AD02-06B6-8283-C65D12DC2FE0}"/>
          </ac:spMkLst>
        </pc:spChg>
        <pc:spChg chg="mod">
          <ac:chgData name="Ananth Mohan" userId="0+ntHPCRoNBLvPdhBUzfljBEc8fje1ZhpS6eiRuEUeE=" providerId="None" clId="Web-{C23D21C3-919F-4673-893F-9028A87D197E}" dt="2025-02-28T06:34:35.076" v="501"/>
          <ac:spMkLst>
            <pc:docMk/>
            <pc:sldMk cId="810637578" sldId="263"/>
            <ac:spMk id="111" creationId="{9D02A781-2653-3BA5-3688-790B147C0918}"/>
          </ac:spMkLst>
        </pc:spChg>
        <pc:spChg chg="add mod">
          <ac:chgData name="Ananth Mohan" userId="0+ntHPCRoNBLvPdhBUzfljBEc8fje1ZhpS6eiRuEUeE=" providerId="None" clId="Web-{C23D21C3-919F-4673-893F-9028A87D197E}" dt="2025-02-28T06:34:35.076" v="502"/>
          <ac:spMkLst>
            <pc:docMk/>
            <pc:sldMk cId="810637578" sldId="263"/>
            <ac:spMk id="115" creationId="{B9659D5E-9329-8C4D-19AA-2F3B70CA831A}"/>
          </ac:spMkLst>
        </pc:spChg>
        <pc:spChg chg="add mod">
          <ac:chgData name="Ananth Mohan" userId="0+ntHPCRoNBLvPdhBUzfljBEc8fje1ZhpS6eiRuEUeE=" providerId="None" clId="Web-{C23D21C3-919F-4673-893F-9028A87D197E}" dt="2025-02-28T06:34:35.076" v="503"/>
          <ac:spMkLst>
            <pc:docMk/>
            <pc:sldMk cId="810637578" sldId="263"/>
            <ac:spMk id="116" creationId="{A9F259AD-CA66-F76C-A61C-3BC5BA60090A}"/>
          </ac:spMkLst>
        </pc:spChg>
        <pc:spChg chg="add mod">
          <ac:chgData name="Ananth Mohan" userId="0+ntHPCRoNBLvPdhBUzfljBEc8fje1ZhpS6eiRuEUeE=" providerId="None" clId="Web-{C23D21C3-919F-4673-893F-9028A87D197E}" dt="2025-02-28T06:34:35.076" v="504"/>
          <ac:spMkLst>
            <pc:docMk/>
            <pc:sldMk cId="810637578" sldId="263"/>
            <ac:spMk id="117" creationId="{69A1A130-C723-FF80-8C52-4585B88A6FCF}"/>
          </ac:spMkLst>
        </pc:spChg>
        <pc:spChg chg="mod">
          <ac:chgData name="Ananth Mohan" userId="0+ntHPCRoNBLvPdhBUzfljBEc8fje1ZhpS6eiRuEUeE=" providerId="None" clId="Web-{C23D21C3-919F-4673-893F-9028A87D197E}" dt="2025-02-28T06:34:35.076" v="505"/>
          <ac:spMkLst>
            <pc:docMk/>
            <pc:sldMk cId="810637578" sldId="263"/>
            <ac:spMk id="118" creationId="{3DD98C7D-5EDC-60EB-67A1-41AEE24ED37B}"/>
          </ac:spMkLst>
        </pc:spChg>
        <pc:spChg chg="add mod">
          <ac:chgData name="Ananth Mohan" userId="0+ntHPCRoNBLvPdhBUzfljBEc8fje1ZhpS6eiRuEUeE=" providerId="None" clId="Web-{C23D21C3-919F-4673-893F-9028A87D197E}" dt="2025-02-28T06:34:36.357" v="506"/>
          <ac:spMkLst>
            <pc:docMk/>
            <pc:sldMk cId="810637578" sldId="263"/>
            <ac:spMk id="120" creationId="{5D518FEE-1E32-2924-21B4-CD59FF28FE59}"/>
          </ac:spMkLst>
        </pc:spChg>
        <pc:spChg chg="add mod">
          <ac:chgData name="Ananth Mohan" userId="0+ntHPCRoNBLvPdhBUzfljBEc8fje1ZhpS6eiRuEUeE=" providerId="None" clId="Web-{C23D21C3-919F-4673-893F-9028A87D197E}" dt="2025-02-28T06:34:20.903" v="498"/>
          <ac:spMkLst>
            <pc:docMk/>
            <pc:sldMk cId="810637578" sldId="263"/>
            <ac:spMk id="121" creationId="{D9D25C7C-098D-2C8F-07C2-761BEB269C1A}"/>
          </ac:spMkLst>
        </pc:spChg>
        <pc:spChg chg="mod">
          <ac:chgData name="Ananth Mohan" userId="0+ntHPCRoNBLvPdhBUzfljBEc8fje1ZhpS6eiRuEUeE=" providerId="None" clId="Web-{C23D21C3-919F-4673-893F-9028A87D197E}" dt="2025-02-28T06:34:08.387" v="491"/>
          <ac:spMkLst>
            <pc:docMk/>
            <pc:sldMk cId="810637578" sldId="263"/>
            <ac:spMk id="129" creationId="{60379B83-44AA-B82F-BAE2-D5004C843B15}"/>
          </ac:spMkLst>
        </pc:spChg>
        <pc:spChg chg="add mod">
          <ac:chgData name="Ananth Mohan" userId="0+ntHPCRoNBLvPdhBUzfljBEc8fje1ZhpS6eiRuEUeE=" providerId="None" clId="Web-{C23D21C3-919F-4673-893F-9028A87D197E}" dt="2025-02-28T06:34:08.387" v="492"/>
          <ac:spMkLst>
            <pc:docMk/>
            <pc:sldMk cId="810637578" sldId="263"/>
            <ac:spMk id="130" creationId="{6BF3D9FB-CFA2-2870-3919-9B65C3D7C247}"/>
          </ac:spMkLst>
        </pc:spChg>
        <pc:spChg chg="add mod">
          <ac:chgData name="Ananth Mohan" userId="0+ntHPCRoNBLvPdhBUzfljBEc8fje1ZhpS6eiRuEUeE=" providerId="None" clId="Web-{C23D21C3-919F-4673-893F-9028A87D197E}" dt="2025-02-28T06:34:08.387" v="493"/>
          <ac:spMkLst>
            <pc:docMk/>
            <pc:sldMk cId="810637578" sldId="263"/>
            <ac:spMk id="131" creationId="{819F5578-C28C-FF3C-FBF1-7515909356F6}"/>
          </ac:spMkLst>
        </pc:spChg>
        <pc:spChg chg="mod">
          <ac:chgData name="Ananth Mohan" userId="0+ntHPCRoNBLvPdhBUzfljBEc8fje1ZhpS6eiRuEUeE=" providerId="None" clId="Web-{C23D21C3-919F-4673-893F-9028A87D197E}" dt="2025-02-28T06:34:08.387" v="494"/>
          <ac:spMkLst>
            <pc:docMk/>
            <pc:sldMk cId="810637578" sldId="263"/>
            <ac:spMk id="132" creationId="{75DCE009-7AEF-AAAA-D49D-6B36D9754678}"/>
          </ac:spMkLst>
        </pc:spChg>
        <pc:spChg chg="add mod">
          <ac:chgData name="Ananth Mohan" userId="0+ntHPCRoNBLvPdhBUzfljBEc8fje1ZhpS6eiRuEUeE=" providerId="None" clId="Web-{C23D21C3-919F-4673-893F-9028A87D197E}" dt="2025-02-28T06:34:08.387" v="495"/>
          <ac:spMkLst>
            <pc:docMk/>
            <pc:sldMk cId="810637578" sldId="263"/>
            <ac:spMk id="133" creationId="{C4A6260A-6D48-7FD6-FB55-32BA221F86C1}"/>
          </ac:spMkLst>
        </pc:spChg>
        <pc:spChg chg="add mod">
          <ac:chgData name="Ananth Mohan" userId="0+ntHPCRoNBLvPdhBUzfljBEc8fje1ZhpS6eiRuEUeE=" providerId="None" clId="Web-{C23D21C3-919F-4673-893F-9028A87D197E}" dt="2025-02-28T06:34:08.387" v="496"/>
          <ac:spMkLst>
            <pc:docMk/>
            <pc:sldMk cId="810637578" sldId="263"/>
            <ac:spMk id="134" creationId="{16139CE1-6FBC-0EB4-DE69-B920371AB29C}"/>
          </ac:spMkLst>
        </pc:spChg>
        <pc:graphicFrameChg chg="add mod modGraphic">
          <ac:chgData name="Ananth Mohan" userId="0+ntHPCRoNBLvPdhBUzfljBEc8fje1ZhpS6eiRuEUeE=" providerId="None" clId="Web-{C23D21C3-919F-4673-893F-9028A87D197E}" dt="2025-02-28T05:56:42.089" v="292" actId="1076"/>
          <ac:graphicFrameMkLst>
            <pc:docMk/>
            <pc:sldMk cId="810637578" sldId="263"/>
            <ac:graphicFrameMk id="22" creationId="{5B594D09-B3D6-9151-40B6-4E402FEABE42}"/>
          </ac:graphicFrameMkLst>
        </pc:graphicFrameChg>
        <pc:cxnChg chg="add mod">
          <ac:chgData name="Ananth Mohan" userId="0+ntHPCRoNBLvPdhBUzfljBEc8fje1ZhpS6eiRuEUeE=" providerId="None" clId="Web-{C23D21C3-919F-4673-893F-9028A87D197E}" dt="2025-02-28T06:29:25.028" v="403"/>
          <ac:cxnSpMkLst>
            <pc:docMk/>
            <pc:sldMk cId="810637578" sldId="263"/>
            <ac:cxnSpMk id="58" creationId="{8192D790-E699-74CA-0F98-AA166A3F71C2}"/>
          </ac:cxnSpMkLst>
        </pc:cxnChg>
        <pc:cxnChg chg="mod">
          <ac:chgData name="Ananth Mohan" userId="0+ntHPCRoNBLvPdhBUzfljBEc8fje1ZhpS6eiRuEUeE=" providerId="None" clId="Web-{C23D21C3-919F-4673-893F-9028A87D197E}" dt="2025-02-28T06:29:25.028" v="404"/>
          <ac:cxnSpMkLst>
            <pc:docMk/>
            <pc:sldMk cId="810637578" sldId="263"/>
            <ac:cxnSpMk id="61" creationId="{7E3499DF-321A-48FA-85E0-836771029D58}"/>
          </ac:cxnSpMkLst>
        </pc:cxnChg>
        <pc:cxnChg chg="mod">
          <ac:chgData name="Ananth Mohan" userId="0+ntHPCRoNBLvPdhBUzfljBEc8fje1ZhpS6eiRuEUeE=" providerId="None" clId="Web-{C23D21C3-919F-4673-893F-9028A87D197E}" dt="2025-02-28T06:29:25.028" v="405"/>
          <ac:cxnSpMkLst>
            <pc:docMk/>
            <pc:sldMk cId="810637578" sldId="263"/>
            <ac:cxnSpMk id="63" creationId="{A348BCEA-40F9-4D62-00A8-90F41D15DF60}"/>
          </ac:cxnSpMkLst>
        </pc:cxnChg>
        <pc:cxnChg chg="mod">
          <ac:chgData name="Ananth Mohan" userId="0+ntHPCRoNBLvPdhBUzfljBEc8fje1ZhpS6eiRuEUeE=" providerId="None" clId="Web-{C23D21C3-919F-4673-893F-9028A87D197E}" dt="2025-02-28T06:29:25.028" v="406"/>
          <ac:cxnSpMkLst>
            <pc:docMk/>
            <pc:sldMk cId="810637578" sldId="263"/>
            <ac:cxnSpMk id="65" creationId="{C6633DB3-F536-BAB8-A315-4566415ECF90}"/>
          </ac:cxnSpMkLst>
        </pc:cxnChg>
        <pc:cxnChg chg="add mod">
          <ac:chgData name="Ananth Mohan" userId="0+ntHPCRoNBLvPdhBUzfljBEc8fje1ZhpS6eiRuEUeE=" providerId="None" clId="Web-{C23D21C3-919F-4673-893F-9028A87D197E}" dt="2025-02-28T06:30:57.813" v="425" actId="1076"/>
          <ac:cxnSpMkLst>
            <pc:docMk/>
            <pc:sldMk cId="810637578" sldId="263"/>
            <ac:cxnSpMk id="71" creationId="{B178683D-83C3-B81F-31E0-84FDBC54BD9F}"/>
          </ac:cxnSpMkLst>
        </pc:cxnChg>
        <pc:cxnChg chg="mod">
          <ac:chgData name="Ananth Mohan" userId="0+ntHPCRoNBLvPdhBUzfljBEc8fje1ZhpS6eiRuEUeE=" providerId="None" clId="Web-{C23D21C3-919F-4673-893F-9028A87D197E}" dt="2025-02-28T06:35:14.671" v="514"/>
          <ac:cxnSpMkLst>
            <pc:docMk/>
            <pc:sldMk cId="810637578" sldId="263"/>
            <ac:cxnSpMk id="112" creationId="{F04EE867-59A4-2182-DEA3-36A1EA703473}"/>
          </ac:cxnSpMkLst>
        </pc:cxnChg>
        <pc:cxnChg chg="mod">
          <ac:chgData name="Ananth Mohan" userId="0+ntHPCRoNBLvPdhBUzfljBEc8fje1ZhpS6eiRuEUeE=" providerId="None" clId="Web-{C23D21C3-919F-4673-893F-9028A87D197E}" dt="2025-02-28T06:35:05.640" v="513"/>
          <ac:cxnSpMkLst>
            <pc:docMk/>
            <pc:sldMk cId="810637578" sldId="263"/>
            <ac:cxnSpMk id="114" creationId="{DD5F55B4-B28C-7265-C7EA-362D5B1ECF3C}"/>
          </ac:cxnSpMkLst>
        </pc:cxnChg>
        <pc:cxnChg chg="mod">
          <ac:chgData name="Ananth Mohan" userId="0+ntHPCRoNBLvPdhBUzfljBEc8fje1ZhpS6eiRuEUeE=" providerId="None" clId="Web-{C23D21C3-919F-4673-893F-9028A87D197E}" dt="2025-02-28T06:35:21.750" v="515"/>
          <ac:cxnSpMkLst>
            <pc:docMk/>
            <pc:sldMk cId="810637578" sldId="263"/>
            <ac:cxnSpMk id="122" creationId="{092A37AD-D2B2-A27C-0407-1E96893A3521}"/>
          </ac:cxnSpMkLst>
        </pc:cxnChg>
        <pc:cxnChg chg="mod">
          <ac:chgData name="Ananth Mohan" userId="0+ntHPCRoNBLvPdhBUzfljBEc8fje1ZhpS6eiRuEUeE=" providerId="None" clId="Web-{C23D21C3-919F-4673-893F-9028A87D197E}" dt="2025-02-28T06:35:01.593" v="512"/>
          <ac:cxnSpMkLst>
            <pc:docMk/>
            <pc:sldMk cId="810637578" sldId="263"/>
            <ac:cxnSpMk id="123" creationId="{36FC00C8-59F4-ACB4-763C-5DAF0D65617A}"/>
          </ac:cxnSpMkLst>
        </pc:cxnChg>
        <pc:cxnChg chg="mod">
          <ac:chgData name="Ananth Mohan" userId="0+ntHPCRoNBLvPdhBUzfljBEc8fje1ZhpS6eiRuEUeE=" providerId="None" clId="Web-{C23D21C3-919F-4673-893F-9028A87D197E}" dt="2025-02-28T06:35:22.078" v="516"/>
          <ac:cxnSpMkLst>
            <pc:docMk/>
            <pc:sldMk cId="810637578" sldId="263"/>
            <ac:cxnSpMk id="124" creationId="{D5B52A4D-3C69-3AC1-3890-F25949BA3115}"/>
          </ac:cxnSpMkLst>
        </pc:cxnChg>
      </pc:sldChg>
    </pc:docChg>
  </pc:docChgLst>
  <pc:docChgLst>
    <pc:chgData name="Ananth Mohan" userId="0+ntHPCRoNBLvPdhBUzfljBEc8fje1ZhpS6eiRuEUeE=" providerId="None" clId="Web-{6A490CE6-3914-4EAC-A47B-1BC5BAEEB5C4}"/>
    <pc:docChg chg="modSld">
      <pc:chgData name="Ananth Mohan" userId="0+ntHPCRoNBLvPdhBUzfljBEc8fje1ZhpS6eiRuEUeE=" providerId="None" clId="Web-{6A490CE6-3914-4EAC-A47B-1BC5BAEEB5C4}" dt="2025-03-06T18:47:42.539" v="137" actId="1076"/>
      <pc:docMkLst>
        <pc:docMk/>
      </pc:docMkLst>
      <pc:sldChg chg="addSp delSp modSp">
        <pc:chgData name="Ananth Mohan" userId="0+ntHPCRoNBLvPdhBUzfljBEc8fje1ZhpS6eiRuEUeE=" providerId="None" clId="Web-{6A490CE6-3914-4EAC-A47B-1BC5BAEEB5C4}" dt="2025-03-06T18:47:42.539" v="137" actId="1076"/>
        <pc:sldMkLst>
          <pc:docMk/>
          <pc:sldMk cId="810637578" sldId="263"/>
        </pc:sldMkLst>
        <pc:spChg chg="mod">
          <ac:chgData name="Ananth Mohan" userId="0+ntHPCRoNBLvPdhBUzfljBEc8fje1ZhpS6eiRuEUeE=" providerId="None" clId="Web-{6A490CE6-3914-4EAC-A47B-1BC5BAEEB5C4}" dt="2025-03-06T17:44:53.549" v="10" actId="20577"/>
          <ac:spMkLst>
            <pc:docMk/>
            <pc:sldMk cId="810637578" sldId="263"/>
            <ac:spMk id="2" creationId="{32CC5A80-0450-772D-9231-C5665C60D606}"/>
          </ac:spMkLst>
        </pc:spChg>
        <pc:spChg chg="mod">
          <ac:chgData name="Ananth Mohan" userId="0+ntHPCRoNBLvPdhBUzfljBEc8fje1ZhpS6eiRuEUeE=" providerId="None" clId="Web-{6A490CE6-3914-4EAC-A47B-1BC5BAEEB5C4}" dt="2025-03-06T18:31:18.333" v="132" actId="20577"/>
          <ac:spMkLst>
            <pc:docMk/>
            <pc:sldMk cId="810637578" sldId="263"/>
            <ac:spMk id="76" creationId="{B8194EFC-3FB3-082B-92AF-0F0A7A88B170}"/>
          </ac:spMkLst>
        </pc:spChg>
        <pc:spChg chg="mod">
          <ac:chgData name="Ananth Mohan" userId="0+ntHPCRoNBLvPdhBUzfljBEc8fje1ZhpS6eiRuEUeE=" providerId="None" clId="Web-{6A490CE6-3914-4EAC-A47B-1BC5BAEEB5C4}" dt="2025-03-06T18:20:18.888" v="102" actId="20577"/>
          <ac:spMkLst>
            <pc:docMk/>
            <pc:sldMk cId="810637578" sldId="263"/>
            <ac:spMk id="103" creationId="{70F836BC-EFEA-1515-9EE8-F659DEC408F4}"/>
          </ac:spMkLst>
        </pc:spChg>
        <pc:spChg chg="del">
          <ac:chgData name="Ananth Mohan" userId="0+ntHPCRoNBLvPdhBUzfljBEc8fje1ZhpS6eiRuEUeE=" providerId="None" clId="Web-{6A490CE6-3914-4EAC-A47B-1BC5BAEEB5C4}" dt="2025-03-06T18:00:29.488" v="11"/>
          <ac:spMkLst>
            <pc:docMk/>
            <pc:sldMk cId="810637578" sldId="263"/>
            <ac:spMk id="104" creationId="{B5F1573E-96BD-C155-226F-FD9E4757FB5B}"/>
          </ac:spMkLst>
        </pc:spChg>
        <pc:spChg chg="mod">
          <ac:chgData name="Ananth Mohan" userId="0+ntHPCRoNBLvPdhBUzfljBEc8fje1ZhpS6eiRuEUeE=" providerId="None" clId="Web-{6A490CE6-3914-4EAC-A47B-1BC5BAEEB5C4}" dt="2025-03-06T18:08:34.129" v="101"/>
          <ac:spMkLst>
            <pc:docMk/>
            <pc:sldMk cId="810637578" sldId="263"/>
            <ac:spMk id="121" creationId="{D9D25C7C-098D-2C8F-07C2-761BEB269C1A}"/>
          </ac:spMkLst>
        </pc:spChg>
        <pc:grpChg chg="del">
          <ac:chgData name="Ananth Mohan" userId="0+ntHPCRoNBLvPdhBUzfljBEc8fje1ZhpS6eiRuEUeE=" providerId="None" clId="Web-{6A490CE6-3914-4EAC-A47B-1BC5BAEEB5C4}" dt="2025-03-06T18:00:29.488" v="12"/>
          <ac:grpSpMkLst>
            <pc:docMk/>
            <pc:sldMk cId="810637578" sldId="263"/>
            <ac:grpSpMk id="78" creationId="{8B24879A-0554-0E92-0F2E-A00146CACF6D}"/>
          </ac:grpSpMkLst>
        </pc:grpChg>
        <pc:picChg chg="add mod">
          <ac:chgData name="Ananth Mohan" userId="0+ntHPCRoNBLvPdhBUzfljBEc8fje1ZhpS6eiRuEUeE=" providerId="None" clId="Web-{6A490CE6-3914-4EAC-A47B-1BC5BAEEB5C4}" dt="2025-03-06T17:41:23.854" v="4" actId="14100"/>
          <ac:picMkLst>
            <pc:docMk/>
            <pc:sldMk cId="810637578" sldId="263"/>
            <ac:picMk id="3" creationId="{FAED5053-9F42-7076-66D3-0D0D992E7E7D}"/>
          </ac:picMkLst>
        </pc:picChg>
        <pc:picChg chg="mod">
          <ac:chgData name="Ananth Mohan" userId="0+ntHPCRoNBLvPdhBUzfljBEc8fje1ZhpS6eiRuEUeE=" providerId="None" clId="Web-{6A490CE6-3914-4EAC-A47B-1BC5BAEEB5C4}" dt="2025-03-06T18:47:42.539" v="137" actId="1076"/>
          <ac:picMkLst>
            <pc:docMk/>
            <pc:sldMk cId="810637578" sldId="263"/>
            <ac:picMk id="11" creationId="{E53BAB70-3E70-BC6F-E734-F90FBAFBC948}"/>
          </ac:picMkLst>
        </pc:picChg>
        <pc:picChg chg="mod">
          <ac:chgData name="Ananth Mohan" userId="0+ntHPCRoNBLvPdhBUzfljBEc8fje1ZhpS6eiRuEUeE=" providerId="None" clId="Web-{6A490CE6-3914-4EAC-A47B-1BC5BAEEB5C4}" dt="2025-03-06T17:41:40.605" v="5" actId="1076"/>
          <ac:picMkLst>
            <pc:docMk/>
            <pc:sldMk cId="810637578" sldId="263"/>
            <ac:picMk id="20" creationId="{610A73A9-1EBF-8AC9-CDBE-6649694F9C76}"/>
          </ac:picMkLst>
        </pc:picChg>
        <pc:picChg chg="mod">
          <ac:chgData name="Ananth Mohan" userId="0+ntHPCRoNBLvPdhBUzfljBEc8fje1ZhpS6eiRuEUeE=" providerId="None" clId="Web-{6A490CE6-3914-4EAC-A47B-1BC5BAEEB5C4}" dt="2025-03-06T17:41:42.261" v="6" actId="1076"/>
          <ac:picMkLst>
            <pc:docMk/>
            <pc:sldMk cId="810637578" sldId="263"/>
            <ac:picMk id="21" creationId="{296A8129-2C09-0036-03D9-B21FEE148C45}"/>
          </ac:picMkLst>
        </pc:picChg>
        <pc:picChg chg="add mod">
          <ac:chgData name="Ananth Mohan" userId="0+ntHPCRoNBLvPdhBUzfljBEc8fje1ZhpS6eiRuEUeE=" providerId="None" clId="Web-{6A490CE6-3914-4EAC-A47B-1BC5BAEEB5C4}" dt="2025-03-06T18:32:25.538" v="135" actId="1076"/>
          <ac:picMkLst>
            <pc:docMk/>
            <pc:sldMk cId="810637578" sldId="263"/>
            <ac:picMk id="60" creationId="{B4B6E7E6-17E3-85A7-8C1E-A56736BF84E5}"/>
          </ac:picMkLst>
        </pc:picChg>
        <pc:picChg chg="add mod">
          <ac:chgData name="Ananth Mohan" userId="0+ntHPCRoNBLvPdhBUzfljBEc8fje1ZhpS6eiRuEUeE=" providerId="None" clId="Web-{6A490CE6-3914-4EAC-A47B-1BC5BAEEB5C4}" dt="2025-03-06T18:32:25.710" v="136" actId="1076"/>
          <ac:picMkLst>
            <pc:docMk/>
            <pc:sldMk cId="810637578" sldId="263"/>
            <ac:picMk id="66" creationId="{F7F08560-584E-DBC2-AC07-F5BCA7BFD78F}"/>
          </ac:picMkLst>
        </pc:picChg>
      </pc:sldChg>
    </pc:docChg>
  </pc:docChgLst>
  <pc:docChgLst>
    <pc:chgData name="Farha Shireen" userId="K9hHn9oINz5vZ9EtNhWdkbocU8fYfQRPeYvfmnVYJ7Q=" providerId="None" clId="Web-{C16F42E3-93F4-471F-9EC4-734C761FCF97}"/>
    <pc:docChg chg="modSld">
      <pc:chgData name="Farha Shireen" userId="K9hHn9oINz5vZ9EtNhWdkbocU8fYfQRPeYvfmnVYJ7Q=" providerId="None" clId="Web-{C16F42E3-93F4-471F-9EC4-734C761FCF97}" dt="2025-03-30T03:04:50.306" v="94" actId="1076"/>
      <pc:docMkLst>
        <pc:docMk/>
      </pc:docMkLst>
      <pc:sldChg chg="addSp delSp modSp">
        <pc:chgData name="Farha Shireen" userId="K9hHn9oINz5vZ9EtNhWdkbocU8fYfQRPeYvfmnVYJ7Q=" providerId="None" clId="Web-{C16F42E3-93F4-471F-9EC4-734C761FCF97}" dt="2025-03-30T01:47:17.719" v="36" actId="14100"/>
        <pc:sldMkLst>
          <pc:docMk/>
          <pc:sldMk cId="810637578" sldId="263"/>
        </pc:sldMkLst>
        <pc:spChg chg="mod">
          <ac:chgData name="Farha Shireen" userId="K9hHn9oINz5vZ9EtNhWdkbocU8fYfQRPeYvfmnVYJ7Q=" providerId="None" clId="Web-{C16F42E3-93F4-471F-9EC4-734C761FCF97}" dt="2025-03-30T01:46:57.687" v="34" actId="1076"/>
          <ac:spMkLst>
            <pc:docMk/>
            <pc:sldMk cId="810637578" sldId="263"/>
            <ac:spMk id="64" creationId="{D5E1E239-23AD-C382-9F30-A42E6BC0F904}"/>
          </ac:spMkLst>
        </pc:spChg>
        <pc:spChg chg="mod">
          <ac:chgData name="Farha Shireen" userId="K9hHn9oINz5vZ9EtNhWdkbocU8fYfQRPeYvfmnVYJ7Q=" providerId="None" clId="Web-{C16F42E3-93F4-471F-9EC4-734C761FCF97}" dt="2025-03-30T01:46:54.203" v="33" actId="1076"/>
          <ac:spMkLst>
            <pc:docMk/>
            <pc:sldMk cId="810637578" sldId="263"/>
            <ac:spMk id="67" creationId="{5E5B07BD-E5E4-575D-CAD2-935AC7A56F5B}"/>
          </ac:spMkLst>
        </pc:spChg>
        <pc:picChg chg="mod">
          <ac:chgData name="Farha Shireen" userId="K9hHn9oINz5vZ9EtNhWdkbocU8fYfQRPeYvfmnVYJ7Q=" providerId="None" clId="Web-{C16F42E3-93F4-471F-9EC4-734C761FCF97}" dt="2025-03-30T01:47:17.719" v="36" actId="14100"/>
          <ac:picMkLst>
            <pc:docMk/>
            <pc:sldMk cId="810637578" sldId="263"/>
            <ac:picMk id="41" creationId="{F4FCF19C-9BFE-E50C-9D25-A28E4C766039}"/>
          </ac:picMkLst>
        </pc:picChg>
        <pc:cxnChg chg="del mod">
          <ac:chgData name="Farha Shireen" userId="K9hHn9oINz5vZ9EtNhWdkbocU8fYfQRPeYvfmnVYJ7Q=" providerId="None" clId="Web-{C16F42E3-93F4-471F-9EC4-734C761FCF97}" dt="2025-03-30T01:42:50.773" v="4"/>
          <ac:cxnSpMkLst>
            <pc:docMk/>
            <pc:sldMk cId="810637578" sldId="263"/>
            <ac:cxnSpMk id="71" creationId="{B178683D-83C3-B81F-31E0-84FDBC54BD9F}"/>
          </ac:cxnSpMkLst>
        </pc:cxnChg>
        <pc:cxnChg chg="add del mod">
          <ac:chgData name="Farha Shireen" userId="K9hHn9oINz5vZ9EtNhWdkbocU8fYfQRPeYvfmnVYJ7Q=" providerId="None" clId="Web-{C16F42E3-93F4-471F-9EC4-734C761FCF97}" dt="2025-03-30T01:43:29.071" v="9"/>
          <ac:cxnSpMkLst>
            <pc:docMk/>
            <pc:sldMk cId="810637578" sldId="263"/>
            <ac:cxnSpMk id="119" creationId="{9C86AA7B-A8F4-B7D6-C557-DE56EA75E8A8}"/>
          </ac:cxnSpMkLst>
        </pc:cxnChg>
        <pc:cxnChg chg="add del mod">
          <ac:chgData name="Farha Shireen" userId="K9hHn9oINz5vZ9EtNhWdkbocU8fYfQRPeYvfmnVYJ7Q=" providerId="None" clId="Web-{C16F42E3-93F4-471F-9EC4-734C761FCF97}" dt="2025-03-30T01:44:47.730" v="18"/>
          <ac:cxnSpMkLst>
            <pc:docMk/>
            <pc:sldMk cId="810637578" sldId="263"/>
            <ac:cxnSpMk id="126" creationId="{09A03610-6B0B-3A7A-173F-7B30C2ADBA11}"/>
          </ac:cxnSpMkLst>
        </pc:cxnChg>
        <pc:cxnChg chg="add del mod">
          <ac:chgData name="Farha Shireen" userId="K9hHn9oINz5vZ9EtNhWdkbocU8fYfQRPeYvfmnVYJ7Q=" providerId="None" clId="Web-{C16F42E3-93F4-471F-9EC4-734C761FCF97}" dt="2025-03-30T01:45:38.247" v="24"/>
          <ac:cxnSpMkLst>
            <pc:docMk/>
            <pc:sldMk cId="810637578" sldId="263"/>
            <ac:cxnSpMk id="135" creationId="{69898F59-B60B-AF21-438C-E20CA2D388AA}"/>
          </ac:cxnSpMkLst>
        </pc:cxnChg>
        <pc:cxnChg chg="add mod">
          <ac:chgData name="Farha Shireen" userId="K9hHn9oINz5vZ9EtNhWdkbocU8fYfQRPeYvfmnVYJ7Q=" providerId="None" clId="Web-{C16F42E3-93F4-471F-9EC4-734C761FCF97}" dt="2025-03-30T01:47:03.594" v="35" actId="1076"/>
          <ac:cxnSpMkLst>
            <pc:docMk/>
            <pc:sldMk cId="810637578" sldId="263"/>
            <ac:cxnSpMk id="136" creationId="{A832AC5D-0E8D-C299-7586-AF812AB9A5B9}"/>
          </ac:cxnSpMkLst>
        </pc:cxnChg>
      </pc:sldChg>
      <pc:sldChg chg="modSp">
        <pc:chgData name="Farha Shireen" userId="K9hHn9oINz5vZ9EtNhWdkbocU8fYfQRPeYvfmnVYJ7Q=" providerId="None" clId="Web-{C16F42E3-93F4-471F-9EC4-734C761FCF97}" dt="2025-03-30T03:04:50.306" v="94" actId="1076"/>
        <pc:sldMkLst>
          <pc:docMk/>
          <pc:sldMk cId="3303383250" sldId="265"/>
        </pc:sldMkLst>
        <pc:spChg chg="mod">
          <ac:chgData name="Farha Shireen" userId="K9hHn9oINz5vZ9EtNhWdkbocU8fYfQRPeYvfmnVYJ7Q=" providerId="None" clId="Web-{C16F42E3-93F4-471F-9EC4-734C761FCF97}" dt="2025-03-30T03:04:13.539" v="92" actId="1076"/>
          <ac:spMkLst>
            <pc:docMk/>
            <pc:sldMk cId="3303383250" sldId="265"/>
            <ac:spMk id="9" creationId="{9BB207A6-5DB5-9F65-7FE4-05B866288B1D}"/>
          </ac:spMkLst>
        </pc:spChg>
        <pc:spChg chg="mod">
          <ac:chgData name="Farha Shireen" userId="K9hHn9oINz5vZ9EtNhWdkbocU8fYfQRPeYvfmnVYJ7Q=" providerId="None" clId="Web-{C16F42E3-93F4-471F-9EC4-734C761FCF97}" dt="2025-03-30T03:04:00.711" v="90" actId="1076"/>
          <ac:spMkLst>
            <pc:docMk/>
            <pc:sldMk cId="3303383250" sldId="265"/>
            <ac:spMk id="10" creationId="{EC26910D-EF9D-92D8-CC60-5C128DFDA98B}"/>
          </ac:spMkLst>
        </pc:spChg>
        <pc:spChg chg="mod">
          <ac:chgData name="Farha Shireen" userId="K9hHn9oINz5vZ9EtNhWdkbocU8fYfQRPeYvfmnVYJ7Q=" providerId="None" clId="Web-{C16F42E3-93F4-471F-9EC4-734C761FCF97}" dt="2025-03-30T03:03:48.867" v="89" actId="1076"/>
          <ac:spMkLst>
            <pc:docMk/>
            <pc:sldMk cId="3303383250" sldId="265"/>
            <ac:spMk id="12" creationId="{CD465C23-EE68-DED7-613D-BC18DF25EE62}"/>
          </ac:spMkLst>
        </pc:spChg>
        <pc:spChg chg="mod">
          <ac:chgData name="Farha Shireen" userId="K9hHn9oINz5vZ9EtNhWdkbocU8fYfQRPeYvfmnVYJ7Q=" providerId="None" clId="Web-{C16F42E3-93F4-471F-9EC4-734C761FCF97}" dt="2025-03-30T03:03:21.116" v="88" actId="1076"/>
          <ac:spMkLst>
            <pc:docMk/>
            <pc:sldMk cId="3303383250" sldId="265"/>
            <ac:spMk id="13" creationId="{E1FFC1CF-AC40-E16B-DCA0-4CB808FCB806}"/>
          </ac:spMkLst>
        </pc:spChg>
        <pc:spChg chg="mod">
          <ac:chgData name="Farha Shireen" userId="K9hHn9oINz5vZ9EtNhWdkbocU8fYfQRPeYvfmnVYJ7Q=" providerId="None" clId="Web-{C16F42E3-93F4-471F-9EC4-734C761FCF97}" dt="2025-03-30T03:03:09.521" v="73" actId="1076"/>
          <ac:spMkLst>
            <pc:docMk/>
            <pc:sldMk cId="3303383250" sldId="265"/>
            <ac:spMk id="17" creationId="{2349C947-8C06-01CB-5BD8-8A5503C1443A}"/>
          </ac:spMkLst>
        </pc:spChg>
        <pc:spChg chg="mod">
          <ac:chgData name="Farha Shireen" userId="K9hHn9oINz5vZ9EtNhWdkbocU8fYfQRPeYvfmnVYJ7Q=" providerId="None" clId="Web-{C16F42E3-93F4-471F-9EC4-734C761FCF97}" dt="2025-03-30T03:03:09.771" v="74" actId="1076"/>
          <ac:spMkLst>
            <pc:docMk/>
            <pc:sldMk cId="3303383250" sldId="265"/>
            <ac:spMk id="29" creationId="{A3888C01-6EB5-5EDB-54B3-84C0F4A8579B}"/>
          </ac:spMkLst>
        </pc:spChg>
        <pc:spChg chg="mod">
          <ac:chgData name="Farha Shireen" userId="K9hHn9oINz5vZ9EtNhWdkbocU8fYfQRPeYvfmnVYJ7Q=" providerId="None" clId="Web-{C16F42E3-93F4-471F-9EC4-734C761FCF97}" dt="2025-03-30T03:03:10.740" v="78" actId="1076"/>
          <ac:spMkLst>
            <pc:docMk/>
            <pc:sldMk cId="3303383250" sldId="265"/>
            <ac:spMk id="31" creationId="{4A62D3D4-5E79-2DDA-2122-418EE27D592A}"/>
          </ac:spMkLst>
        </pc:spChg>
        <pc:spChg chg="mod">
          <ac:chgData name="Farha Shireen" userId="K9hHn9oINz5vZ9EtNhWdkbocU8fYfQRPeYvfmnVYJ7Q=" providerId="None" clId="Web-{C16F42E3-93F4-471F-9EC4-734C761FCF97}" dt="2025-03-30T03:03:11.428" v="81" actId="1076"/>
          <ac:spMkLst>
            <pc:docMk/>
            <pc:sldMk cId="3303383250" sldId="265"/>
            <ac:spMk id="32" creationId="{CFBD32F7-03C9-A772-BC37-BB83CAE2C615}"/>
          </ac:spMkLst>
        </pc:spChg>
        <pc:spChg chg="mod">
          <ac:chgData name="Farha Shireen" userId="K9hHn9oINz5vZ9EtNhWdkbocU8fYfQRPeYvfmnVYJ7Q=" providerId="None" clId="Web-{C16F42E3-93F4-471F-9EC4-734C761FCF97}" dt="2025-03-30T03:03:10.990" v="79" actId="1076"/>
          <ac:spMkLst>
            <pc:docMk/>
            <pc:sldMk cId="3303383250" sldId="265"/>
            <ac:spMk id="36" creationId="{8D196CCE-88E4-E9E0-6C1E-370B829EA2E9}"/>
          </ac:spMkLst>
        </pc:spChg>
        <pc:spChg chg="mod">
          <ac:chgData name="Farha Shireen" userId="K9hHn9oINz5vZ9EtNhWdkbocU8fYfQRPeYvfmnVYJ7Q=" providerId="None" clId="Web-{C16F42E3-93F4-471F-9EC4-734C761FCF97}" dt="2025-03-30T03:03:11.928" v="83" actId="1076"/>
          <ac:spMkLst>
            <pc:docMk/>
            <pc:sldMk cId="3303383250" sldId="265"/>
            <ac:spMk id="38" creationId="{CF93609E-E80F-A7E6-5AEC-1E20ADD4BB37}"/>
          </ac:spMkLst>
        </pc:spChg>
        <pc:spChg chg="mod">
          <ac:chgData name="Farha Shireen" userId="K9hHn9oINz5vZ9EtNhWdkbocU8fYfQRPeYvfmnVYJ7Q=" providerId="None" clId="Web-{C16F42E3-93F4-471F-9EC4-734C761FCF97}" dt="2025-03-30T03:03:12.647" v="86" actId="1076"/>
          <ac:spMkLst>
            <pc:docMk/>
            <pc:sldMk cId="3303383250" sldId="265"/>
            <ac:spMk id="42" creationId="{348C12DA-0D01-D7EA-693C-3740765B18C7}"/>
          </ac:spMkLst>
        </pc:spChg>
        <pc:spChg chg="mod">
          <ac:chgData name="Farha Shireen" userId="K9hHn9oINz5vZ9EtNhWdkbocU8fYfQRPeYvfmnVYJ7Q=" providerId="None" clId="Web-{C16F42E3-93F4-471F-9EC4-734C761FCF97}" dt="2025-03-30T03:03:12.162" v="84" actId="1076"/>
          <ac:spMkLst>
            <pc:docMk/>
            <pc:sldMk cId="3303383250" sldId="265"/>
            <ac:spMk id="43" creationId="{1466B7A3-5089-6564-485B-8A11748CD04D}"/>
          </ac:spMkLst>
        </pc:spChg>
        <pc:spChg chg="mod">
          <ac:chgData name="Farha Shireen" userId="K9hHn9oINz5vZ9EtNhWdkbocU8fYfQRPeYvfmnVYJ7Q=" providerId="None" clId="Web-{C16F42E3-93F4-471F-9EC4-734C761FCF97}" dt="2025-03-30T03:03:12.412" v="85" actId="1076"/>
          <ac:spMkLst>
            <pc:docMk/>
            <pc:sldMk cId="3303383250" sldId="265"/>
            <ac:spMk id="45" creationId="{AC256B52-0715-A867-DA3D-0588BDC29CA9}"/>
          </ac:spMkLst>
        </pc:spChg>
        <pc:spChg chg="mod">
          <ac:chgData name="Farha Shireen" userId="K9hHn9oINz5vZ9EtNhWdkbocU8fYfQRPeYvfmnVYJ7Q=" providerId="None" clId="Web-{C16F42E3-93F4-471F-9EC4-734C761FCF97}" dt="2025-03-30T03:03:12.897" v="87" actId="1076"/>
          <ac:spMkLst>
            <pc:docMk/>
            <pc:sldMk cId="3303383250" sldId="265"/>
            <ac:spMk id="52" creationId="{EF37A66F-0919-208C-D890-B389B1286B5E}"/>
          </ac:spMkLst>
        </pc:spChg>
        <pc:spChg chg="mod">
          <ac:chgData name="Farha Shireen" userId="K9hHn9oINz5vZ9EtNhWdkbocU8fYfQRPeYvfmnVYJ7Q=" providerId="None" clId="Web-{C16F42E3-93F4-471F-9EC4-734C761FCF97}" dt="2025-03-30T03:04:50.306" v="94" actId="1076"/>
          <ac:spMkLst>
            <pc:docMk/>
            <pc:sldMk cId="3303383250" sldId="265"/>
            <ac:spMk id="77" creationId="{C213C033-83DF-1C28-DEC8-79E659151B90}"/>
          </ac:spMkLst>
        </pc:spChg>
        <pc:spChg chg="mod">
          <ac:chgData name="Farha Shireen" userId="K9hHn9oINz5vZ9EtNhWdkbocU8fYfQRPeYvfmnVYJ7Q=" providerId="None" clId="Web-{C16F42E3-93F4-471F-9EC4-734C761FCF97}" dt="2025-03-30T03:04:41.790" v="93" actId="1076"/>
          <ac:spMkLst>
            <pc:docMk/>
            <pc:sldMk cId="3303383250" sldId="265"/>
            <ac:spMk id="105" creationId="{0007B696-4C2F-9E22-5840-DAAFCF52E1AB}"/>
          </ac:spMkLst>
        </pc:spChg>
        <pc:picChg chg="mod">
          <ac:chgData name="Farha Shireen" userId="K9hHn9oINz5vZ9EtNhWdkbocU8fYfQRPeYvfmnVYJ7Q=" providerId="None" clId="Web-{C16F42E3-93F4-471F-9EC4-734C761FCF97}" dt="2025-03-30T03:03:10.006" v="75" actId="1076"/>
          <ac:picMkLst>
            <pc:docMk/>
            <pc:sldMk cId="3303383250" sldId="265"/>
            <ac:picMk id="16" creationId="{D58D6980-856E-7D78-BA25-FB6D9687194F}"/>
          </ac:picMkLst>
        </pc:picChg>
        <pc:picChg chg="mod">
          <ac:chgData name="Farha Shireen" userId="K9hHn9oINz5vZ9EtNhWdkbocU8fYfQRPeYvfmnVYJ7Q=" providerId="None" clId="Web-{C16F42E3-93F4-471F-9EC4-734C761FCF97}" dt="2025-03-30T03:03:10.506" v="77" actId="1076"/>
          <ac:picMkLst>
            <pc:docMk/>
            <pc:sldMk cId="3303383250" sldId="265"/>
            <ac:picMk id="28" creationId="{E3CB94C0-45DB-BC0A-2B8C-B7A7E87C4CAF}"/>
          </ac:picMkLst>
        </pc:picChg>
        <pc:picChg chg="mod">
          <ac:chgData name="Farha Shireen" userId="K9hHn9oINz5vZ9EtNhWdkbocU8fYfQRPeYvfmnVYJ7Q=" providerId="None" clId="Web-{C16F42E3-93F4-471F-9EC4-734C761FCF97}" dt="2025-03-30T03:03:10.256" v="76" actId="1076"/>
          <ac:picMkLst>
            <pc:docMk/>
            <pc:sldMk cId="3303383250" sldId="265"/>
            <ac:picMk id="30" creationId="{947A582F-27C0-AA2E-8FAA-A52539962E2B}"/>
          </ac:picMkLst>
        </pc:picChg>
        <pc:picChg chg="mod">
          <ac:chgData name="Farha Shireen" userId="K9hHn9oINz5vZ9EtNhWdkbocU8fYfQRPeYvfmnVYJ7Q=" providerId="None" clId="Web-{C16F42E3-93F4-471F-9EC4-734C761FCF97}" dt="2025-03-30T03:03:11.662" v="82" actId="1076"/>
          <ac:picMkLst>
            <pc:docMk/>
            <pc:sldMk cId="3303383250" sldId="265"/>
            <ac:picMk id="34" creationId="{8A098F87-E18A-0334-CFBB-16B653052B79}"/>
          </ac:picMkLst>
        </pc:picChg>
        <pc:picChg chg="mod">
          <ac:chgData name="Farha Shireen" userId="K9hHn9oINz5vZ9EtNhWdkbocU8fYfQRPeYvfmnVYJ7Q=" providerId="None" clId="Web-{C16F42E3-93F4-471F-9EC4-734C761FCF97}" dt="2025-03-30T03:03:11.193" v="80" actId="1076"/>
          <ac:picMkLst>
            <pc:docMk/>
            <pc:sldMk cId="3303383250" sldId="265"/>
            <ac:picMk id="37" creationId="{F0A87DEA-1EA4-CCF6-6FB4-DCBBA786942A}"/>
          </ac:picMkLst>
        </pc:picChg>
      </pc:sldChg>
    </pc:docChg>
  </pc:docChgLst>
  <pc:docChgLst>
    <pc:chgData name="Ananth Mohan" userId="0+ntHPCRoNBLvPdhBUzfljBEc8fje1ZhpS6eiRuEUeE=" providerId="None" clId="Web-{22163085-5255-404E-B678-14892BBECEFF}"/>
    <pc:docChg chg="modSld">
      <pc:chgData name="Ananth Mohan" userId="0+ntHPCRoNBLvPdhBUzfljBEc8fje1ZhpS6eiRuEUeE=" providerId="None" clId="Web-{22163085-5255-404E-B678-14892BBECEFF}" dt="2025-03-25T15:30:25.687" v="7"/>
      <pc:docMkLst>
        <pc:docMk/>
      </pc:docMkLst>
      <pc:sldChg chg="modSp">
        <pc:chgData name="Ananth Mohan" userId="0+ntHPCRoNBLvPdhBUzfljBEc8fje1ZhpS6eiRuEUeE=" providerId="None" clId="Web-{22163085-5255-404E-B678-14892BBECEFF}" dt="2025-03-25T15:30:25.687" v="7"/>
        <pc:sldMkLst>
          <pc:docMk/>
          <pc:sldMk cId="810637578" sldId="263"/>
        </pc:sldMkLst>
        <pc:picChg chg="mod">
          <ac:chgData name="Ananth Mohan" userId="0+ntHPCRoNBLvPdhBUzfljBEc8fje1ZhpS6eiRuEUeE=" providerId="None" clId="Web-{22163085-5255-404E-B678-14892BBECEFF}" dt="2025-03-25T15:30:25.687" v="7"/>
          <ac:picMkLst>
            <pc:docMk/>
            <pc:sldMk cId="810637578" sldId="263"/>
            <ac:picMk id="96" creationId="{8A1E435C-3168-AB10-5837-83EECFA6D9F8}"/>
          </ac:picMkLst>
        </pc:picChg>
        <pc:picChg chg="mod">
          <ac:chgData name="Ananth Mohan" userId="0+ntHPCRoNBLvPdhBUzfljBEc8fje1ZhpS6eiRuEUeE=" providerId="None" clId="Web-{22163085-5255-404E-B678-14892BBECEFF}" dt="2025-03-25T15:29:53.842" v="1"/>
          <ac:picMkLst>
            <pc:docMk/>
            <pc:sldMk cId="810637578" sldId="263"/>
            <ac:picMk id="104" creationId="{FC64191F-787D-F12F-E95D-E6A87AAFD11E}"/>
          </ac:picMkLst>
        </pc:picChg>
        <pc:picChg chg="mod">
          <ac:chgData name="Ananth Mohan" userId="0+ntHPCRoNBLvPdhBUzfljBEc8fje1ZhpS6eiRuEUeE=" providerId="None" clId="Web-{22163085-5255-404E-B678-14892BBECEFF}" dt="2025-03-25T15:29:58.936" v="2"/>
          <ac:picMkLst>
            <pc:docMk/>
            <pc:sldMk cId="810637578" sldId="263"/>
            <ac:picMk id="126" creationId="{181ED16E-A00F-F235-9D93-37F520A31C96}"/>
          </ac:picMkLst>
        </pc:picChg>
        <pc:picChg chg="mod">
          <ac:chgData name="Ananth Mohan" userId="0+ntHPCRoNBLvPdhBUzfljBEc8fje1ZhpS6eiRuEUeE=" providerId="None" clId="Web-{22163085-5255-404E-B678-14892BBECEFF}" dt="2025-03-25T15:30:21.140" v="6"/>
          <ac:picMkLst>
            <pc:docMk/>
            <pc:sldMk cId="810637578" sldId="263"/>
            <ac:picMk id="136" creationId="{DDDEC562-1A15-82CB-8875-D1F5928D56B3}"/>
          </ac:picMkLst>
        </pc:picChg>
        <pc:picChg chg="mod">
          <ac:chgData name="Ananth Mohan" userId="0+ntHPCRoNBLvPdhBUzfljBEc8fje1ZhpS6eiRuEUeE=" providerId="None" clId="Web-{22163085-5255-404E-B678-14892BBECEFF}" dt="2025-03-25T15:30:03.858" v="3"/>
          <ac:picMkLst>
            <pc:docMk/>
            <pc:sldMk cId="810637578" sldId="263"/>
            <ac:picMk id="141" creationId="{79FB5AEB-3DAD-1FFE-EEE8-34DE8B2D4409}"/>
          </ac:picMkLst>
        </pc:picChg>
        <pc:picChg chg="mod">
          <ac:chgData name="Ananth Mohan" userId="0+ntHPCRoNBLvPdhBUzfljBEc8fje1ZhpS6eiRuEUeE=" providerId="None" clId="Web-{22163085-5255-404E-B678-14892BBECEFF}" dt="2025-03-25T15:30:16.765" v="5"/>
          <ac:picMkLst>
            <pc:docMk/>
            <pc:sldMk cId="810637578" sldId="263"/>
            <ac:picMk id="143" creationId="{AEF9494A-AD3C-E933-30A9-D6F8742DB88D}"/>
          </ac:picMkLst>
        </pc:picChg>
        <pc:picChg chg="mod">
          <ac:chgData name="Ananth Mohan" userId="0+ntHPCRoNBLvPdhBUzfljBEc8fje1ZhpS6eiRuEUeE=" providerId="None" clId="Web-{22163085-5255-404E-B678-14892BBECEFF}" dt="2025-03-25T15:29:18.981" v="0"/>
          <ac:picMkLst>
            <pc:docMk/>
            <pc:sldMk cId="810637578" sldId="263"/>
            <ac:picMk id="145" creationId="{0F46F35B-A7FD-2D13-1A05-D60E19736906}"/>
          </ac:picMkLst>
        </pc:picChg>
        <pc:picChg chg="mod">
          <ac:chgData name="Ananth Mohan" userId="0+ntHPCRoNBLvPdhBUzfljBEc8fje1ZhpS6eiRuEUeE=" providerId="None" clId="Web-{22163085-5255-404E-B678-14892BBECEFF}" dt="2025-03-25T15:30:08.811" v="4"/>
          <ac:picMkLst>
            <pc:docMk/>
            <pc:sldMk cId="810637578" sldId="263"/>
            <ac:picMk id="146" creationId="{42F02FF9-5933-F2E5-3055-58B04F0127B2}"/>
          </ac:picMkLst>
        </pc:picChg>
      </pc:sldChg>
    </pc:docChg>
  </pc:docChgLst>
  <pc:docChgLst>
    <pc:chgData name="Ananth Mohan" userId="0+ntHPCRoNBLvPdhBUzfljBEc8fje1ZhpS6eiRuEUeE=" providerId="None" clId="Web-{67EA765A-4D1A-4454-BE9C-ABA969CFF3BD}"/>
    <pc:docChg chg="modSld">
      <pc:chgData name="Ananth Mohan" userId="0+ntHPCRoNBLvPdhBUzfljBEc8fje1ZhpS6eiRuEUeE=" providerId="None" clId="Web-{67EA765A-4D1A-4454-BE9C-ABA969CFF3BD}" dt="2025-03-06T19:50:15.923" v="146" actId="14100"/>
      <pc:docMkLst>
        <pc:docMk/>
      </pc:docMkLst>
      <pc:sldChg chg="addSp delSp modSp modCm">
        <pc:chgData name="Ananth Mohan" userId="0+ntHPCRoNBLvPdhBUzfljBEc8fje1ZhpS6eiRuEUeE=" providerId="None" clId="Web-{67EA765A-4D1A-4454-BE9C-ABA969CFF3BD}" dt="2025-03-06T19:50:15.923" v="146" actId="14100"/>
        <pc:sldMkLst>
          <pc:docMk/>
          <pc:sldMk cId="810637578" sldId="263"/>
        </pc:sldMkLst>
        <pc:spChg chg="del mod">
          <ac:chgData name="Ananth Mohan" userId="0+ntHPCRoNBLvPdhBUzfljBEc8fje1ZhpS6eiRuEUeE=" providerId="None" clId="Web-{67EA765A-4D1A-4454-BE9C-ABA969CFF3BD}" dt="2025-03-06T19:44:19.028" v="92"/>
          <ac:spMkLst>
            <pc:docMk/>
            <pc:sldMk cId="810637578" sldId="263"/>
            <ac:spMk id="2" creationId="{32CC5A80-0450-772D-9231-C5665C60D606}"/>
          </ac:spMkLst>
        </pc:spChg>
        <pc:spChg chg="mod">
          <ac:chgData name="Ananth Mohan" userId="0+ntHPCRoNBLvPdhBUzfljBEc8fje1ZhpS6eiRuEUeE=" providerId="None" clId="Web-{67EA765A-4D1A-4454-BE9C-ABA969CFF3BD}" dt="2025-03-06T19:44:59.388" v="113" actId="1076"/>
          <ac:spMkLst>
            <pc:docMk/>
            <pc:sldMk cId="810637578" sldId="263"/>
            <ac:spMk id="51" creationId="{D60EAE86-D34C-9612-FF86-85375F86FD4F}"/>
          </ac:spMkLst>
        </pc:spChg>
        <pc:spChg chg="add mod">
          <ac:chgData name="Ananth Mohan" userId="0+ntHPCRoNBLvPdhBUzfljBEc8fje1ZhpS6eiRuEUeE=" providerId="None" clId="Web-{67EA765A-4D1A-4454-BE9C-ABA969CFF3BD}" dt="2025-03-06T19:45:15.983" v="124" actId="1076"/>
          <ac:spMkLst>
            <pc:docMk/>
            <pc:sldMk cId="810637578" sldId="263"/>
            <ac:spMk id="60" creationId="{61CC4148-BB21-3F7A-C597-9DC07E32875D}"/>
          </ac:spMkLst>
        </pc:spChg>
        <pc:spChg chg="add mod">
          <ac:chgData name="Ananth Mohan" userId="0+ntHPCRoNBLvPdhBUzfljBEc8fje1ZhpS6eiRuEUeE=" providerId="None" clId="Web-{67EA765A-4D1A-4454-BE9C-ABA969CFF3BD}" dt="2025-03-06T19:45:18.748" v="128" actId="1076"/>
          <ac:spMkLst>
            <pc:docMk/>
            <pc:sldMk cId="810637578" sldId="263"/>
            <ac:spMk id="66" creationId="{40E89E01-E3E4-9733-0C89-9A0C3565116C}"/>
          </ac:spMkLst>
        </pc:spChg>
        <pc:spChg chg="add mod">
          <ac:chgData name="Ananth Mohan" userId="0+ntHPCRoNBLvPdhBUzfljBEc8fje1ZhpS6eiRuEUeE=" providerId="None" clId="Web-{67EA765A-4D1A-4454-BE9C-ABA969CFF3BD}" dt="2025-03-06T19:45:18.920" v="129" actId="1076"/>
          <ac:spMkLst>
            <pc:docMk/>
            <pc:sldMk cId="810637578" sldId="263"/>
            <ac:spMk id="69" creationId="{776AF60B-BFA5-9759-BCD1-2B2694CCF0E5}"/>
          </ac:spMkLst>
        </pc:spChg>
        <pc:spChg chg="mod">
          <ac:chgData name="Ananth Mohan" userId="0+ntHPCRoNBLvPdhBUzfljBEc8fje1ZhpS6eiRuEUeE=" providerId="None" clId="Web-{67EA765A-4D1A-4454-BE9C-ABA969CFF3BD}" dt="2025-03-06T19:44:59.560" v="114" actId="1076"/>
          <ac:spMkLst>
            <pc:docMk/>
            <pc:sldMk cId="810637578" sldId="263"/>
            <ac:spMk id="72" creationId="{A273EECD-5827-45C7-0516-A08EBF059C6F}"/>
          </ac:spMkLst>
        </pc:spChg>
        <pc:spChg chg="mod">
          <ac:chgData name="Ananth Mohan" userId="0+ntHPCRoNBLvPdhBUzfljBEc8fje1ZhpS6eiRuEUeE=" providerId="None" clId="Web-{67EA765A-4D1A-4454-BE9C-ABA969CFF3BD}" dt="2025-03-06T19:44:59.717" v="115" actId="1076"/>
          <ac:spMkLst>
            <pc:docMk/>
            <pc:sldMk cId="810637578" sldId="263"/>
            <ac:spMk id="73" creationId="{3F8DD11A-504B-5C66-CB28-E18A86297C80}"/>
          </ac:spMkLst>
        </pc:spChg>
        <pc:spChg chg="mod">
          <ac:chgData name="Ananth Mohan" userId="0+ntHPCRoNBLvPdhBUzfljBEc8fje1ZhpS6eiRuEUeE=" providerId="None" clId="Web-{67EA765A-4D1A-4454-BE9C-ABA969CFF3BD}" dt="2025-03-06T19:41:45.867" v="53" actId="20577"/>
          <ac:spMkLst>
            <pc:docMk/>
            <pc:sldMk cId="810637578" sldId="263"/>
            <ac:spMk id="76" creationId="{B8194EFC-3FB3-082B-92AF-0F0A7A88B170}"/>
          </ac:spMkLst>
        </pc:spChg>
        <pc:spChg chg="add mod">
          <ac:chgData name="Ananth Mohan" userId="0+ntHPCRoNBLvPdhBUzfljBEc8fje1ZhpS6eiRuEUeE=" providerId="None" clId="Web-{67EA765A-4D1A-4454-BE9C-ABA969CFF3BD}" dt="2025-03-06T19:45:16.514" v="127" actId="1076"/>
          <ac:spMkLst>
            <pc:docMk/>
            <pc:sldMk cId="810637578" sldId="263"/>
            <ac:spMk id="80" creationId="{3848FF21-25C9-A6EE-D357-B1A2FA8D400F}"/>
          </ac:spMkLst>
        </pc:spChg>
        <pc:picChg chg="mod">
          <ac:chgData name="Ananth Mohan" userId="0+ntHPCRoNBLvPdhBUzfljBEc8fje1ZhpS6eiRuEUeE=" providerId="None" clId="Web-{67EA765A-4D1A-4454-BE9C-ABA969CFF3BD}" dt="2025-03-06T19:49:22.788" v="142" actId="1076"/>
          <ac:picMkLst>
            <pc:docMk/>
            <pc:sldMk cId="810637578" sldId="263"/>
            <ac:picMk id="4" creationId="{486A0C58-EC79-1171-04D5-69D65D61C307}"/>
          </ac:picMkLst>
        </pc:picChg>
        <pc:picChg chg="mod">
          <ac:chgData name="Ananth Mohan" userId="0+ntHPCRoNBLvPdhBUzfljBEc8fje1ZhpS6eiRuEUeE=" providerId="None" clId="Web-{67EA765A-4D1A-4454-BE9C-ABA969CFF3BD}" dt="2025-03-06T19:38:48.314" v="3" actId="14100"/>
          <ac:picMkLst>
            <pc:docMk/>
            <pc:sldMk cId="810637578" sldId="263"/>
            <ac:picMk id="14" creationId="{900E130A-D877-0C2B-35B0-32ABB9065263}"/>
          </ac:picMkLst>
        </pc:picChg>
        <pc:picChg chg="del">
          <ac:chgData name="Ananth Mohan" userId="0+ntHPCRoNBLvPdhBUzfljBEc8fje1ZhpS6eiRuEUeE=" providerId="None" clId="Web-{67EA765A-4D1A-4454-BE9C-ABA969CFF3BD}" dt="2025-03-06T19:40:26.161" v="4"/>
          <ac:picMkLst>
            <pc:docMk/>
            <pc:sldMk cId="810637578" sldId="263"/>
            <ac:picMk id="66" creationId="{F7F08560-584E-DBC2-AC07-F5BCA7BFD78F}"/>
          </ac:picMkLst>
        </pc:picChg>
        <pc:picChg chg="mod">
          <ac:chgData name="Ananth Mohan" userId="0+ntHPCRoNBLvPdhBUzfljBEc8fje1ZhpS6eiRuEUeE=" providerId="None" clId="Web-{67EA765A-4D1A-4454-BE9C-ABA969CFF3BD}" dt="2025-03-06T19:50:15.923" v="146" actId="14100"/>
          <ac:picMkLst>
            <pc:docMk/>
            <pc:sldMk cId="810637578" sldId="263"/>
            <ac:picMk id="70" creationId="{2909927E-C2ED-33CC-1DB6-D12A94C21117}"/>
          </ac:picMkLst>
        </pc:picChg>
        <pc:picChg chg="mod">
          <ac:chgData name="Ananth Mohan" userId="0+ntHPCRoNBLvPdhBUzfljBEc8fje1ZhpS6eiRuEUeE=" providerId="None" clId="Web-{67EA765A-4D1A-4454-BE9C-ABA969CFF3BD}" dt="2025-03-06T19:49:22.788" v="141" actId="1076"/>
          <ac:picMkLst>
            <pc:docMk/>
            <pc:sldMk cId="810637578" sldId="263"/>
            <ac:picMk id="78" creationId="{62B959F5-455A-655F-F161-6252FB0D6268}"/>
          </ac:picMkLst>
        </pc:picChg>
        <pc:picChg chg="mod">
          <ac:chgData name="Ananth Mohan" userId="0+ntHPCRoNBLvPdhBUzfljBEc8fje1ZhpS6eiRuEUeE=" providerId="None" clId="Web-{67EA765A-4D1A-4454-BE9C-ABA969CFF3BD}" dt="2025-03-06T19:49:22.788" v="139" actId="1076"/>
          <ac:picMkLst>
            <pc:docMk/>
            <pc:sldMk cId="810637578" sldId="263"/>
            <ac:picMk id="85" creationId="{E953E701-0539-7D31-6310-E5C121F80CCB}"/>
          </ac:picMkLst>
        </pc:picChg>
        <pc:picChg chg="add mod">
          <ac:chgData name="Ananth Mohan" userId="0+ntHPCRoNBLvPdhBUzfljBEc8fje1ZhpS6eiRuEUeE=" providerId="None" clId="Web-{67EA765A-4D1A-4454-BE9C-ABA969CFF3BD}" dt="2025-03-06T19:28:48.248" v="1" actId="1076"/>
          <ac:picMkLst>
            <pc:docMk/>
            <pc:sldMk cId="810637578" sldId="263"/>
            <ac:picMk id="104" creationId="{40AD6066-4C3C-EABF-BDB8-08BDDA9097E7}"/>
          </ac:picMkLst>
        </pc:picChg>
        <pc:picChg chg="add mod">
          <ac:chgData name="Ananth Mohan" userId="0+ntHPCRoNBLvPdhBUzfljBEc8fje1ZhpS6eiRuEUeE=" providerId="None" clId="Web-{67EA765A-4D1A-4454-BE9C-ABA969CFF3BD}" dt="2025-03-06T19:40:34.192" v="6" actId="1076"/>
          <ac:picMkLst>
            <pc:docMk/>
            <pc:sldMk cId="810637578" sldId="263"/>
            <ac:picMk id="142" creationId="{DABE15AA-65F6-C2FF-5359-00773F310C94}"/>
          </ac:picMkLst>
        </pc:picChg>
        <pc:extLst>
          <p:ext xmlns:p="http://schemas.openxmlformats.org/presentationml/2006/main" uri="{D6D511B9-2390-475A-947B-AFAB55BFBCF1}">
            <pc226:cmChg xmlns:pc226="http://schemas.microsoft.com/office/powerpoint/2022/06/main/command" chg="mod">
              <pc226:chgData name="Ananth Mohan" userId="0+ntHPCRoNBLvPdhBUzfljBEc8fje1ZhpS6eiRuEUeE=" providerId="None" clId="Web-{67EA765A-4D1A-4454-BE9C-ABA969CFF3BD}" dt="2025-03-06T19:42:52.416" v="57" actId="20577"/>
              <pc2:cmMkLst xmlns:pc2="http://schemas.microsoft.com/office/powerpoint/2019/9/main/command">
                <pc:docMk/>
                <pc:sldMk cId="810637578" sldId="263"/>
                <pc2:cmMk id="{E0558DB1-E828-415A-BF3F-74D97FC8535A}"/>
              </pc2:cmMkLst>
            </pc226:cmChg>
          </p:ext>
        </pc:extLst>
      </pc:sldChg>
    </pc:docChg>
  </pc:docChgLst>
  <pc:docChgLst>
    <pc:chgData name="Farha Shireen" userId="K9hHn9oINz5vZ9EtNhWdkbocU8fYfQRPeYvfmnVYJ7Q=" providerId="None" clId="Web-{843364D1-BF08-4EBE-9027-A9ED871A7E77}"/>
    <pc:docChg chg="modSld">
      <pc:chgData name="Farha Shireen" userId="K9hHn9oINz5vZ9EtNhWdkbocU8fYfQRPeYvfmnVYJ7Q=" providerId="None" clId="Web-{843364D1-BF08-4EBE-9027-A9ED871A7E77}" dt="2025-03-30T01:29:01.820" v="32" actId="1076"/>
      <pc:docMkLst>
        <pc:docMk/>
      </pc:docMkLst>
      <pc:sldChg chg="modSp">
        <pc:chgData name="Farha Shireen" userId="K9hHn9oINz5vZ9EtNhWdkbocU8fYfQRPeYvfmnVYJ7Q=" providerId="None" clId="Web-{843364D1-BF08-4EBE-9027-A9ED871A7E77}" dt="2025-03-30T01:29:01.820" v="32" actId="1076"/>
        <pc:sldMkLst>
          <pc:docMk/>
          <pc:sldMk cId="810637578" sldId="263"/>
        </pc:sldMkLst>
        <pc:spChg chg="mod">
          <ac:chgData name="Farha Shireen" userId="K9hHn9oINz5vZ9EtNhWdkbocU8fYfQRPeYvfmnVYJ7Q=" providerId="None" clId="Web-{843364D1-BF08-4EBE-9027-A9ED871A7E77}" dt="2025-03-30T01:23:56.545" v="25" actId="1076"/>
          <ac:spMkLst>
            <pc:docMk/>
            <pc:sldMk cId="810637578" sldId="263"/>
            <ac:spMk id="100" creationId="{62081406-995D-5EA6-5F35-85B29C5A8BBB}"/>
          </ac:spMkLst>
        </pc:spChg>
        <pc:spChg chg="mod">
          <ac:chgData name="Farha Shireen" userId="K9hHn9oINz5vZ9EtNhWdkbocU8fYfQRPeYvfmnVYJ7Q=" providerId="None" clId="Web-{843364D1-BF08-4EBE-9027-A9ED871A7E77}" dt="2025-03-30T01:19:36.398" v="12" actId="20577"/>
          <ac:spMkLst>
            <pc:docMk/>
            <pc:sldMk cId="810637578" sldId="263"/>
            <ac:spMk id="127" creationId="{FE7B4270-3224-663B-B190-7CE82AB374E6}"/>
          </ac:spMkLst>
        </pc:spChg>
        <pc:spChg chg="mod">
          <ac:chgData name="Farha Shireen" userId="K9hHn9oINz5vZ9EtNhWdkbocU8fYfQRPeYvfmnVYJ7Q=" providerId="None" clId="Web-{843364D1-BF08-4EBE-9027-A9ED871A7E77}" dt="2025-03-30T01:26:20.057" v="30" actId="1076"/>
          <ac:spMkLst>
            <pc:docMk/>
            <pc:sldMk cId="810637578" sldId="263"/>
            <ac:spMk id="164" creationId="{D5027268-7BA0-2914-80E5-EFA12C070FAA}"/>
          </ac:spMkLst>
        </pc:spChg>
        <pc:spChg chg="mod">
          <ac:chgData name="Farha Shireen" userId="K9hHn9oINz5vZ9EtNhWdkbocU8fYfQRPeYvfmnVYJ7Q=" providerId="None" clId="Web-{843364D1-BF08-4EBE-9027-A9ED871A7E77}" dt="2025-03-30T01:26:03.462" v="29" actId="14100"/>
          <ac:spMkLst>
            <pc:docMk/>
            <pc:sldMk cId="810637578" sldId="263"/>
            <ac:spMk id="165" creationId="{31E6C983-B6FD-0DE9-A969-DE3BED07D95B}"/>
          </ac:spMkLst>
        </pc:spChg>
        <pc:picChg chg="mod modCrop">
          <ac:chgData name="Farha Shireen" userId="K9hHn9oINz5vZ9EtNhWdkbocU8fYfQRPeYvfmnVYJ7Q=" providerId="None" clId="Web-{843364D1-BF08-4EBE-9027-A9ED871A7E77}" dt="2025-03-30T01:19:56.556" v="17" actId="1076"/>
          <ac:picMkLst>
            <pc:docMk/>
            <pc:sldMk cId="810637578" sldId="263"/>
            <ac:picMk id="125" creationId="{4C3E4435-5298-229F-59B5-6940E4928EA1}"/>
          </ac:picMkLst>
        </pc:picChg>
        <pc:cxnChg chg="mod">
          <ac:chgData name="Farha Shireen" userId="K9hHn9oINz5vZ9EtNhWdkbocU8fYfQRPeYvfmnVYJ7Q=" providerId="None" clId="Web-{843364D1-BF08-4EBE-9027-A9ED871A7E77}" dt="2025-03-30T01:15:16.611" v="3" actId="1076"/>
          <ac:cxnSpMkLst>
            <pc:docMk/>
            <pc:sldMk cId="810637578" sldId="263"/>
            <ac:cxnSpMk id="26" creationId="{9E37D577-5CD7-4A5A-323B-6B5FBEDA41A6}"/>
          </ac:cxnSpMkLst>
        </pc:cxnChg>
        <pc:cxnChg chg="mod">
          <ac:chgData name="Farha Shireen" userId="K9hHn9oINz5vZ9EtNhWdkbocU8fYfQRPeYvfmnVYJ7Q=" providerId="None" clId="Web-{843364D1-BF08-4EBE-9027-A9ED871A7E77}" dt="2025-03-30T01:29:01.820" v="32" actId="1076"/>
          <ac:cxnSpMkLst>
            <pc:docMk/>
            <pc:sldMk cId="810637578" sldId="263"/>
            <ac:cxnSpMk id="114" creationId="{DD5F55B4-B28C-7265-C7EA-362D5B1ECF3C}"/>
          </ac:cxnSpMkLst>
        </pc:cxnChg>
      </pc:sldChg>
    </pc:docChg>
  </pc:docChgLst>
  <pc:docChgLst>
    <pc:chgData name="Tanvir Ahmed Farook" userId="TCYBb3uSJ+bdHYXHvL8inqj6VAMXLD9G89AUjqTPq2w=" providerId="None" clId="Web-{34EB40B9-A146-43D0-A1E7-FE7C395575EA}"/>
    <pc:docChg chg="modSld">
      <pc:chgData name="Tanvir Ahmed Farook" userId="TCYBb3uSJ+bdHYXHvL8inqj6VAMXLD9G89AUjqTPq2w=" providerId="None" clId="Web-{34EB40B9-A146-43D0-A1E7-FE7C395575EA}" dt="2025-03-06T21:09:17.575" v="19"/>
      <pc:docMkLst>
        <pc:docMk/>
      </pc:docMkLst>
      <pc:sldChg chg="addSp delSp modSp">
        <pc:chgData name="Tanvir Ahmed Farook" userId="TCYBb3uSJ+bdHYXHvL8inqj6VAMXLD9G89AUjqTPq2w=" providerId="None" clId="Web-{34EB40B9-A146-43D0-A1E7-FE7C395575EA}" dt="2025-03-06T21:09:17.575" v="19"/>
        <pc:sldMkLst>
          <pc:docMk/>
          <pc:sldMk cId="810637578" sldId="263"/>
        </pc:sldMkLst>
        <pc:spChg chg="mod">
          <ac:chgData name="Tanvir Ahmed Farook" userId="TCYBb3uSJ+bdHYXHvL8inqj6VAMXLD9G89AUjqTPq2w=" providerId="None" clId="Web-{34EB40B9-A146-43D0-A1E7-FE7C395575EA}" dt="2025-03-06T20:50:08.015" v="3" actId="20577"/>
          <ac:spMkLst>
            <pc:docMk/>
            <pc:sldMk cId="810637578" sldId="263"/>
            <ac:spMk id="5" creationId="{D4253DBF-C5E1-107A-A92F-3342904DDE9F}"/>
          </ac:spMkLst>
        </pc:spChg>
        <pc:spChg chg="mod">
          <ac:chgData name="Tanvir Ahmed Farook" userId="TCYBb3uSJ+bdHYXHvL8inqj6VAMXLD9G89AUjqTPq2w=" providerId="None" clId="Web-{34EB40B9-A146-43D0-A1E7-FE7C395575EA}" dt="2025-03-06T20:56:54.796" v="9" actId="20577"/>
          <ac:spMkLst>
            <pc:docMk/>
            <pc:sldMk cId="810637578" sldId="263"/>
            <ac:spMk id="144" creationId="{7A944E77-0F91-A2B8-D59F-8AACC1B5F480}"/>
          </ac:spMkLst>
        </pc:spChg>
        <pc:picChg chg="add del mod">
          <ac:chgData name="Tanvir Ahmed Farook" userId="TCYBb3uSJ+bdHYXHvL8inqj6VAMXLD9G89AUjqTPq2w=" providerId="None" clId="Web-{34EB40B9-A146-43D0-A1E7-FE7C395575EA}" dt="2025-03-06T21:01:25.979" v="11"/>
          <ac:picMkLst>
            <pc:docMk/>
            <pc:sldMk cId="810637578" sldId="263"/>
            <ac:picMk id="7" creationId="{91882D29-9BAE-9713-58D8-1E45245D011F}"/>
          </ac:picMkLst>
        </pc:picChg>
        <pc:picChg chg="add mod">
          <ac:chgData name="Tanvir Ahmed Farook" userId="TCYBb3uSJ+bdHYXHvL8inqj6VAMXLD9G89AUjqTPq2w=" providerId="None" clId="Web-{34EB40B9-A146-43D0-A1E7-FE7C395575EA}" dt="2025-03-06T21:03:58.891" v="12"/>
          <ac:picMkLst>
            <pc:docMk/>
            <pc:sldMk cId="810637578" sldId="263"/>
            <ac:picMk id="85" creationId="{68C5030D-DD6A-FAB4-1980-5C1A5FD0E30E}"/>
          </ac:picMkLst>
        </pc:picChg>
        <pc:picChg chg="add del mod">
          <ac:chgData name="Tanvir Ahmed Farook" userId="TCYBb3uSJ+bdHYXHvL8inqj6VAMXLD9G89AUjqTPq2w=" providerId="None" clId="Web-{34EB40B9-A146-43D0-A1E7-FE7C395575EA}" dt="2025-03-06T21:08:29.463" v="15"/>
          <ac:picMkLst>
            <pc:docMk/>
            <pc:sldMk cId="810637578" sldId="263"/>
            <ac:picMk id="104" creationId="{2F373BA0-6B58-66AE-669A-9054EC7B9C86}"/>
          </ac:picMkLst>
        </pc:picChg>
        <pc:picChg chg="add del mod">
          <ac:chgData name="Tanvir Ahmed Farook" userId="TCYBb3uSJ+bdHYXHvL8inqj6VAMXLD9G89AUjqTPq2w=" providerId="None" clId="Web-{34EB40B9-A146-43D0-A1E7-FE7C395575EA}" dt="2025-03-06T21:09:17.575" v="19"/>
          <ac:picMkLst>
            <pc:docMk/>
            <pc:sldMk cId="810637578" sldId="263"/>
            <ac:picMk id="156" creationId="{436C0DC9-97B8-1A5D-799D-B264185A0C80}"/>
          </ac:picMkLst>
        </pc:picChg>
      </pc:sldChg>
    </pc:docChg>
  </pc:docChgLst>
  <pc:docChgLst>
    <pc:chgData name="Yijun Wang" userId="Of/0Pj+qBr5fypY8jeq4N4QA/9LywGn1V9GniuUBQzk=" providerId="None" clId="Web-{C6846323-E4E3-43C2-B430-5F8A32C53953}"/>
    <pc:docChg chg="modSld">
      <pc:chgData name="Yijun Wang" userId="Of/0Pj+qBr5fypY8jeq4N4QA/9LywGn1V9GniuUBQzk=" providerId="None" clId="Web-{C6846323-E4E3-43C2-B430-5F8A32C53953}" dt="2025-03-07T03:24:58.596" v="13" actId="20577"/>
      <pc:docMkLst>
        <pc:docMk/>
      </pc:docMkLst>
      <pc:sldChg chg="modSp">
        <pc:chgData name="Yijun Wang" userId="Of/0Pj+qBr5fypY8jeq4N4QA/9LywGn1V9GniuUBQzk=" providerId="None" clId="Web-{C6846323-E4E3-43C2-B430-5F8A32C53953}" dt="2025-03-07T03:24:58.596" v="13" actId="20577"/>
        <pc:sldMkLst>
          <pc:docMk/>
          <pc:sldMk cId="810637578" sldId="263"/>
        </pc:sldMkLst>
        <pc:spChg chg="mod">
          <ac:chgData name="Yijun Wang" userId="Of/0Pj+qBr5fypY8jeq4N4QA/9LywGn1V9GniuUBQzk=" providerId="None" clId="Web-{C6846323-E4E3-43C2-B430-5F8A32C53953}" dt="2025-03-07T03:24:58.596" v="13" actId="20577"/>
          <ac:spMkLst>
            <pc:docMk/>
            <pc:sldMk cId="810637578" sldId="263"/>
            <ac:spMk id="95" creationId="{F61DC495-FD95-4496-2A52-6475112782E4}"/>
          </ac:spMkLst>
        </pc:spChg>
        <pc:cxnChg chg="mod">
          <ac:chgData name="Yijun Wang" userId="Of/0Pj+qBr5fypY8jeq4N4QA/9LywGn1V9GniuUBQzk=" providerId="None" clId="Web-{C6846323-E4E3-43C2-B430-5F8A32C53953}" dt="2025-03-07T03:24:48.205" v="12" actId="1076"/>
          <ac:cxnSpMkLst>
            <pc:docMk/>
            <pc:sldMk cId="810637578" sldId="263"/>
            <ac:cxnSpMk id="99" creationId="{9D33DE9D-6226-383D-D2D7-167A3098C3F1}"/>
          </ac:cxnSpMkLst>
        </pc:cxnChg>
      </pc:sldChg>
    </pc:docChg>
  </pc:docChgLst>
  <pc:docChgLst>
    <pc:chgData name="Yao Liu" userId="De98wOxqXTFY8++esdgi1+Besv75b2e3DCsfKbqDwqA=" providerId="None" clId="Web-{320D13E1-8968-4970-99CC-0BF4DD2A04E9}"/>
    <pc:docChg chg="modSld">
      <pc:chgData name="Yao Liu" userId="De98wOxqXTFY8++esdgi1+Besv75b2e3DCsfKbqDwqA=" providerId="None" clId="Web-{320D13E1-8968-4970-99CC-0BF4DD2A04E9}" dt="2025-02-22T02:02:16.586" v="9" actId="1076"/>
      <pc:docMkLst>
        <pc:docMk/>
      </pc:docMkLst>
      <pc:sldChg chg="addSp delSp modSp">
        <pc:chgData name="Yao Liu" userId="De98wOxqXTFY8++esdgi1+Besv75b2e3DCsfKbqDwqA=" providerId="None" clId="Web-{320D13E1-8968-4970-99CC-0BF4DD2A04E9}" dt="2025-02-22T02:02:16.586" v="9" actId="1076"/>
        <pc:sldMkLst>
          <pc:docMk/>
          <pc:sldMk cId="810637578" sldId="263"/>
        </pc:sldMkLst>
      </pc:sldChg>
    </pc:docChg>
  </pc:docChgLst>
  <pc:docChgLst>
    <pc:chgData name="Shih Min Lin" userId="EZMguJyP4QRPSMfRfjN+Y1sL5Ac+4RMpWotTWDpLLe0=" providerId="None" clId="Web-{1A6152B1-04C1-437F-B102-E47FB16B4A90}"/>
    <pc:docChg chg="modSld">
      <pc:chgData name="Shih Min Lin" userId="EZMguJyP4QRPSMfRfjN+Y1sL5Ac+4RMpWotTWDpLLe0=" providerId="None" clId="Web-{1A6152B1-04C1-437F-B102-E47FB16B4A90}" dt="2025-03-06T18:53:04.165" v="66" actId="1076"/>
      <pc:docMkLst>
        <pc:docMk/>
      </pc:docMkLst>
      <pc:sldChg chg="addSp delSp modSp">
        <pc:chgData name="Shih Min Lin" userId="EZMguJyP4QRPSMfRfjN+Y1sL5Ac+4RMpWotTWDpLLe0=" providerId="None" clId="Web-{1A6152B1-04C1-437F-B102-E47FB16B4A90}" dt="2025-03-06T18:53:04.165" v="66" actId="1076"/>
        <pc:sldMkLst>
          <pc:docMk/>
          <pc:sldMk cId="810637578" sldId="263"/>
        </pc:sldMkLst>
        <pc:spChg chg="add mod">
          <ac:chgData name="Shih Min Lin" userId="EZMguJyP4QRPSMfRfjN+Y1sL5Ac+4RMpWotTWDpLLe0=" providerId="None" clId="Web-{1A6152B1-04C1-437F-B102-E47FB16B4A90}" dt="2025-03-06T18:52:13.914" v="60" actId="1076"/>
          <ac:spMkLst>
            <pc:docMk/>
            <pc:sldMk cId="810637578" sldId="263"/>
            <ac:spMk id="25" creationId="{FC39D6D1-3498-BBA0-CCE7-2FC9D51F910F}"/>
          </ac:spMkLst>
        </pc:spChg>
        <pc:picChg chg="add mod modCrop">
          <ac:chgData name="Shih Min Lin" userId="EZMguJyP4QRPSMfRfjN+Y1sL5Ac+4RMpWotTWDpLLe0=" providerId="None" clId="Web-{1A6152B1-04C1-437F-B102-E47FB16B4A90}" dt="2025-03-06T18:48:50.096" v="33" actId="1076"/>
          <ac:picMkLst>
            <pc:docMk/>
            <pc:sldMk cId="810637578" sldId="263"/>
            <ac:picMk id="11" creationId="{E53BAB70-3E70-BC6F-E734-F90FBAFBC948}"/>
          </ac:picMkLst>
        </pc:picChg>
        <pc:picChg chg="add del mod">
          <ac:chgData name="Shih Min Lin" userId="EZMguJyP4QRPSMfRfjN+Y1sL5Ac+4RMpWotTWDpLLe0=" providerId="None" clId="Web-{1A6152B1-04C1-437F-B102-E47FB16B4A90}" dt="2025-03-06T18:46:53.234" v="9"/>
          <ac:picMkLst>
            <pc:docMk/>
            <pc:sldMk cId="810637578" sldId="263"/>
            <ac:picMk id="14" creationId="{ECADE08F-BF6F-C67F-0863-753DA4FA48E0}"/>
          </ac:picMkLst>
        </pc:picChg>
        <pc:picChg chg="add mod ord">
          <ac:chgData name="Shih Min Lin" userId="EZMguJyP4QRPSMfRfjN+Y1sL5Ac+4RMpWotTWDpLLe0=" providerId="None" clId="Web-{1A6152B1-04C1-437F-B102-E47FB16B4A90}" dt="2025-03-06T18:51:37.585" v="53" actId="1076"/>
          <ac:picMkLst>
            <pc:docMk/>
            <pc:sldMk cId="810637578" sldId="263"/>
            <ac:picMk id="15" creationId="{BA36C4F6-62F7-CD42-5CFA-2414BE3CD29F}"/>
          </ac:picMkLst>
        </pc:picChg>
        <pc:picChg chg="del mod">
          <ac:chgData name="Shih Min Lin" userId="EZMguJyP4QRPSMfRfjN+Y1sL5Ac+4RMpWotTWDpLLe0=" providerId="None" clId="Web-{1A6152B1-04C1-437F-B102-E47FB16B4A90}" dt="2025-03-06T18:46:11.358" v="4"/>
          <ac:picMkLst>
            <pc:docMk/>
            <pc:sldMk cId="810637578" sldId="263"/>
            <ac:picMk id="60" creationId="{B4B6E7E6-17E3-85A7-8C1E-A56736BF84E5}"/>
          </ac:picMkLst>
        </pc:picChg>
        <pc:picChg chg="mod ord">
          <ac:chgData name="Shih Min Lin" userId="EZMguJyP4QRPSMfRfjN+Y1sL5Ac+4RMpWotTWDpLLe0=" providerId="None" clId="Web-{1A6152B1-04C1-437F-B102-E47FB16B4A90}" dt="2025-03-06T18:53:04.165" v="66" actId="1076"/>
          <ac:picMkLst>
            <pc:docMk/>
            <pc:sldMk cId="810637578" sldId="263"/>
            <ac:picMk id="66" creationId="{F7F08560-584E-DBC2-AC07-F5BCA7BFD78F}"/>
          </ac:picMkLst>
        </pc:picChg>
      </pc:sldChg>
    </pc:docChg>
  </pc:docChgLst>
  <pc:docChgLst>
    <pc:chgData name="Farha Shireen" userId="K9hHn9oINz5vZ9EtNhWdkbocU8fYfQRPeYvfmnVYJ7Q=" providerId="None" clId="Web-{926CF0C7-2FC8-4F27-9DF3-8C2D93D3D829}"/>
    <pc:docChg chg="modSld">
      <pc:chgData name="Farha Shireen" userId="K9hHn9oINz5vZ9EtNhWdkbocU8fYfQRPeYvfmnVYJ7Q=" providerId="None" clId="Web-{926CF0C7-2FC8-4F27-9DF3-8C2D93D3D829}" dt="2025-03-06T20:55:09.164" v="167" actId="1076"/>
      <pc:docMkLst>
        <pc:docMk/>
      </pc:docMkLst>
      <pc:sldChg chg="addSp delSp modSp">
        <pc:chgData name="Farha Shireen" userId="K9hHn9oINz5vZ9EtNhWdkbocU8fYfQRPeYvfmnVYJ7Q=" providerId="None" clId="Web-{926CF0C7-2FC8-4F27-9DF3-8C2D93D3D829}" dt="2025-03-06T20:55:09.164" v="167" actId="1076"/>
        <pc:sldMkLst>
          <pc:docMk/>
          <pc:sldMk cId="810637578" sldId="263"/>
        </pc:sldMkLst>
        <pc:spChg chg="del mod">
          <ac:chgData name="Farha Shireen" userId="K9hHn9oINz5vZ9EtNhWdkbocU8fYfQRPeYvfmnVYJ7Q=" providerId="None" clId="Web-{926CF0C7-2FC8-4F27-9DF3-8C2D93D3D829}" dt="2025-03-06T20:43:47.123" v="118"/>
          <ac:spMkLst>
            <pc:docMk/>
            <pc:sldMk cId="810637578" sldId="263"/>
            <ac:spMk id="7" creationId="{299ECDEE-127D-9631-CFAC-5C6299E4ECA3}"/>
          </ac:spMkLst>
        </pc:spChg>
        <pc:spChg chg="mod">
          <ac:chgData name="Farha Shireen" userId="K9hHn9oINz5vZ9EtNhWdkbocU8fYfQRPeYvfmnVYJ7Q=" providerId="None" clId="Web-{926CF0C7-2FC8-4F27-9DF3-8C2D93D3D829}" dt="2025-03-06T20:18:31.832" v="5"/>
          <ac:spMkLst>
            <pc:docMk/>
            <pc:sldMk cId="810637578" sldId="263"/>
            <ac:spMk id="9" creationId="{19AB2F9E-4684-0522-4915-E83244C7D050}"/>
          </ac:spMkLst>
        </pc:spChg>
        <pc:spChg chg="mod">
          <ac:chgData name="Farha Shireen" userId="K9hHn9oINz5vZ9EtNhWdkbocU8fYfQRPeYvfmnVYJ7Q=" providerId="None" clId="Web-{926CF0C7-2FC8-4F27-9DF3-8C2D93D3D829}" dt="2025-03-06T20:18:22.378" v="4" actId="20577"/>
          <ac:spMkLst>
            <pc:docMk/>
            <pc:sldMk cId="810637578" sldId="263"/>
            <ac:spMk id="10" creationId="{E12A2CB5-31B3-B8A1-AC34-E6539E91DD51}"/>
          </ac:spMkLst>
        </pc:spChg>
        <pc:spChg chg="mod">
          <ac:chgData name="Farha Shireen" userId="K9hHn9oINz5vZ9EtNhWdkbocU8fYfQRPeYvfmnVYJ7Q=" providerId="None" clId="Web-{926CF0C7-2FC8-4F27-9DF3-8C2D93D3D829}" dt="2025-03-06T20:18:53.692" v="6" actId="20577"/>
          <ac:spMkLst>
            <pc:docMk/>
            <pc:sldMk cId="810637578" sldId="263"/>
            <ac:spMk id="12" creationId="{C4D7C6B9-9708-E4DB-DA17-00BBDBB95B30}"/>
          </ac:spMkLst>
        </pc:spChg>
        <pc:spChg chg="mod">
          <ac:chgData name="Farha Shireen" userId="K9hHn9oINz5vZ9EtNhWdkbocU8fYfQRPeYvfmnVYJ7Q=" providerId="None" clId="Web-{926CF0C7-2FC8-4F27-9DF3-8C2D93D3D829}" dt="2025-03-06T20:23:48.031" v="35" actId="20577"/>
          <ac:spMkLst>
            <pc:docMk/>
            <pc:sldMk cId="810637578" sldId="263"/>
            <ac:spMk id="35" creationId="{91B69CFA-4206-66AF-2A07-747605122BB8}"/>
          </ac:spMkLst>
        </pc:spChg>
        <pc:spChg chg="mod">
          <ac:chgData name="Farha Shireen" userId="K9hHn9oINz5vZ9EtNhWdkbocU8fYfQRPeYvfmnVYJ7Q=" providerId="None" clId="Web-{926CF0C7-2FC8-4F27-9DF3-8C2D93D3D829}" dt="2025-03-06T20:19:33.428" v="8" actId="20577"/>
          <ac:spMkLst>
            <pc:docMk/>
            <pc:sldMk cId="810637578" sldId="263"/>
            <ac:spMk id="44" creationId="{F3358298-A61B-585C-693F-B9E05EA84E2B}"/>
          </ac:spMkLst>
        </pc:spChg>
        <pc:spChg chg="mod">
          <ac:chgData name="Farha Shireen" userId="K9hHn9oINz5vZ9EtNhWdkbocU8fYfQRPeYvfmnVYJ7Q=" providerId="None" clId="Web-{926CF0C7-2FC8-4F27-9DF3-8C2D93D3D829}" dt="2025-03-06T20:20:19.992" v="12" actId="20577"/>
          <ac:spMkLst>
            <pc:docMk/>
            <pc:sldMk cId="810637578" sldId="263"/>
            <ac:spMk id="46" creationId="{128408B0-2E53-67DC-0B76-B79941F975F2}"/>
          </ac:spMkLst>
        </pc:spChg>
        <pc:spChg chg="mod">
          <ac:chgData name="Farha Shireen" userId="K9hHn9oINz5vZ9EtNhWdkbocU8fYfQRPeYvfmnVYJ7Q=" providerId="None" clId="Web-{926CF0C7-2FC8-4F27-9DF3-8C2D93D3D829}" dt="2025-03-06T20:20:08.570" v="11" actId="20577"/>
          <ac:spMkLst>
            <pc:docMk/>
            <pc:sldMk cId="810637578" sldId="263"/>
            <ac:spMk id="47" creationId="{07E0DD1A-7B39-59B9-3A3A-EA3C42D7D74A}"/>
          </ac:spMkLst>
        </pc:spChg>
        <pc:spChg chg="mod">
          <ac:chgData name="Farha Shireen" userId="K9hHn9oINz5vZ9EtNhWdkbocU8fYfQRPeYvfmnVYJ7Q=" providerId="None" clId="Web-{926CF0C7-2FC8-4F27-9DF3-8C2D93D3D829}" dt="2025-03-06T20:22:08.621" v="21" actId="20577"/>
          <ac:spMkLst>
            <pc:docMk/>
            <pc:sldMk cId="810637578" sldId="263"/>
            <ac:spMk id="48" creationId="{4DE82104-B1AB-67A3-78DD-417745282239}"/>
          </ac:spMkLst>
        </pc:spChg>
        <pc:spChg chg="mod">
          <ac:chgData name="Farha Shireen" userId="K9hHn9oINz5vZ9EtNhWdkbocU8fYfQRPeYvfmnVYJ7Q=" providerId="None" clId="Web-{926CF0C7-2FC8-4F27-9DF3-8C2D93D3D829}" dt="2025-03-06T20:21:27.073" v="16" actId="20577"/>
          <ac:spMkLst>
            <pc:docMk/>
            <pc:sldMk cId="810637578" sldId="263"/>
            <ac:spMk id="49" creationId="{607C8AF3-E134-057E-35D7-F14B9338B342}"/>
          </ac:spMkLst>
        </pc:spChg>
        <pc:spChg chg="mod">
          <ac:chgData name="Farha Shireen" userId="K9hHn9oINz5vZ9EtNhWdkbocU8fYfQRPeYvfmnVYJ7Q=" providerId="None" clId="Web-{926CF0C7-2FC8-4F27-9DF3-8C2D93D3D829}" dt="2025-03-06T20:22:19.715" v="22"/>
          <ac:spMkLst>
            <pc:docMk/>
            <pc:sldMk cId="810637578" sldId="263"/>
            <ac:spMk id="50" creationId="{BAC9CA12-09CF-9DCF-28D3-F6E0885417D0}"/>
          </ac:spMkLst>
        </pc:spChg>
        <pc:spChg chg="mod">
          <ac:chgData name="Farha Shireen" userId="K9hHn9oINz5vZ9EtNhWdkbocU8fYfQRPeYvfmnVYJ7Q=" providerId="None" clId="Web-{926CF0C7-2FC8-4F27-9DF3-8C2D93D3D829}" dt="2025-03-06T20:22:29.669" v="23" actId="20577"/>
          <ac:spMkLst>
            <pc:docMk/>
            <pc:sldMk cId="810637578" sldId="263"/>
            <ac:spMk id="51" creationId="{D60EAE86-D34C-9612-FF86-85375F86FD4F}"/>
          </ac:spMkLst>
        </pc:spChg>
        <pc:spChg chg="mod">
          <ac:chgData name="Farha Shireen" userId="K9hHn9oINz5vZ9EtNhWdkbocU8fYfQRPeYvfmnVYJ7Q=" providerId="None" clId="Web-{926CF0C7-2FC8-4F27-9DF3-8C2D93D3D829}" dt="2025-03-06T20:28:14.744" v="60" actId="20577"/>
          <ac:spMkLst>
            <pc:docMk/>
            <pc:sldMk cId="810637578" sldId="263"/>
            <ac:spMk id="57" creationId="{DA33BF2E-7506-5BF9-24BC-2D7B48DA7F2B}"/>
          </ac:spMkLst>
        </pc:spChg>
        <pc:spChg chg="mod">
          <ac:chgData name="Farha Shireen" userId="K9hHn9oINz5vZ9EtNhWdkbocU8fYfQRPeYvfmnVYJ7Q=" providerId="None" clId="Web-{926CF0C7-2FC8-4F27-9DF3-8C2D93D3D829}" dt="2025-03-06T20:22:40.044" v="24" actId="20577"/>
          <ac:spMkLst>
            <pc:docMk/>
            <pc:sldMk cId="810637578" sldId="263"/>
            <ac:spMk id="60" creationId="{61CC4148-BB21-3F7A-C597-9DC07E32875D}"/>
          </ac:spMkLst>
        </pc:spChg>
        <pc:spChg chg="mod">
          <ac:chgData name="Farha Shireen" userId="K9hHn9oINz5vZ9EtNhWdkbocU8fYfQRPeYvfmnVYJ7Q=" providerId="None" clId="Web-{926CF0C7-2FC8-4F27-9DF3-8C2D93D3D829}" dt="2025-03-06T20:28:07.322" v="59" actId="20577"/>
          <ac:spMkLst>
            <pc:docMk/>
            <pc:sldMk cId="810637578" sldId="263"/>
            <ac:spMk id="62" creationId="{9F4391FC-E34A-9C75-C366-27C595140A9E}"/>
          </ac:spMkLst>
        </pc:spChg>
        <pc:spChg chg="mod">
          <ac:chgData name="Farha Shireen" userId="K9hHn9oINz5vZ9EtNhWdkbocU8fYfQRPeYvfmnVYJ7Q=" providerId="None" clId="Web-{926CF0C7-2FC8-4F27-9DF3-8C2D93D3D829}" dt="2025-03-06T20:22:57.545" v="28" actId="20577"/>
          <ac:spMkLst>
            <pc:docMk/>
            <pc:sldMk cId="810637578" sldId="263"/>
            <ac:spMk id="66" creationId="{40E89E01-E3E4-9733-0C89-9A0C3565116C}"/>
          </ac:spMkLst>
        </pc:spChg>
        <pc:spChg chg="mod">
          <ac:chgData name="Farha Shireen" userId="K9hHn9oINz5vZ9EtNhWdkbocU8fYfQRPeYvfmnVYJ7Q=" providerId="None" clId="Web-{926CF0C7-2FC8-4F27-9DF3-8C2D93D3D829}" dt="2025-03-06T20:28:00.619" v="58" actId="20577"/>
          <ac:spMkLst>
            <pc:docMk/>
            <pc:sldMk cId="810637578" sldId="263"/>
            <ac:spMk id="67" creationId="{5E5B07BD-E5E4-575D-CAD2-935AC7A56F5B}"/>
          </ac:spMkLst>
        </pc:spChg>
        <pc:spChg chg="mod">
          <ac:chgData name="Farha Shireen" userId="K9hHn9oINz5vZ9EtNhWdkbocU8fYfQRPeYvfmnVYJ7Q=" providerId="None" clId="Web-{926CF0C7-2FC8-4F27-9DF3-8C2D93D3D829}" dt="2025-03-06T20:22:48.810" v="27" actId="20577"/>
          <ac:spMkLst>
            <pc:docMk/>
            <pc:sldMk cId="810637578" sldId="263"/>
            <ac:spMk id="69" creationId="{776AF60B-BFA5-9759-BCD1-2B2694CCF0E5}"/>
          </ac:spMkLst>
        </pc:spChg>
        <pc:spChg chg="mod">
          <ac:chgData name="Farha Shireen" userId="K9hHn9oINz5vZ9EtNhWdkbocU8fYfQRPeYvfmnVYJ7Q=" providerId="None" clId="Web-{926CF0C7-2FC8-4F27-9DF3-8C2D93D3D829}" dt="2025-03-06T20:35:20.495" v="84" actId="20577"/>
          <ac:spMkLst>
            <pc:docMk/>
            <pc:sldMk cId="810637578" sldId="263"/>
            <ac:spMk id="72" creationId="{A273EECD-5827-45C7-0516-A08EBF059C6F}"/>
          </ac:spMkLst>
        </pc:spChg>
        <pc:spChg chg="mod">
          <ac:chgData name="Farha Shireen" userId="K9hHn9oINz5vZ9EtNhWdkbocU8fYfQRPeYvfmnVYJ7Q=" providerId="None" clId="Web-{926CF0C7-2FC8-4F27-9DF3-8C2D93D3D829}" dt="2025-03-06T20:35:32.979" v="85" actId="20577"/>
          <ac:spMkLst>
            <pc:docMk/>
            <pc:sldMk cId="810637578" sldId="263"/>
            <ac:spMk id="73" creationId="{3F8DD11A-504B-5C66-CB28-E18A86297C80}"/>
          </ac:spMkLst>
        </pc:spChg>
        <pc:spChg chg="mod">
          <ac:chgData name="Farha Shireen" userId="K9hHn9oINz5vZ9EtNhWdkbocU8fYfQRPeYvfmnVYJ7Q=" providerId="None" clId="Web-{926CF0C7-2FC8-4F27-9DF3-8C2D93D3D829}" dt="2025-03-06T20:23:35.781" v="32" actId="20577"/>
          <ac:spMkLst>
            <pc:docMk/>
            <pc:sldMk cId="810637578" sldId="263"/>
            <ac:spMk id="75" creationId="{93F3C628-36B3-04B5-05D2-77C7E4E26711}"/>
          </ac:spMkLst>
        </pc:spChg>
        <pc:spChg chg="mod">
          <ac:chgData name="Farha Shireen" userId="K9hHn9oINz5vZ9EtNhWdkbocU8fYfQRPeYvfmnVYJ7Q=" providerId="None" clId="Web-{926CF0C7-2FC8-4F27-9DF3-8C2D93D3D829}" dt="2025-03-06T20:28:44.542" v="65" actId="20577"/>
          <ac:spMkLst>
            <pc:docMk/>
            <pc:sldMk cId="810637578" sldId="263"/>
            <ac:spMk id="76" creationId="{48CD5E2D-C4B8-BA81-84C4-DA4C91DBAAF9}"/>
          </ac:spMkLst>
        </pc:spChg>
        <pc:spChg chg="mod">
          <ac:chgData name="Farha Shireen" userId="K9hHn9oINz5vZ9EtNhWdkbocU8fYfQRPeYvfmnVYJ7Q=" providerId="None" clId="Web-{926CF0C7-2FC8-4F27-9DF3-8C2D93D3D829}" dt="2025-03-06T20:25:13.831" v="39" actId="20577"/>
          <ac:spMkLst>
            <pc:docMk/>
            <pc:sldMk cId="810637578" sldId="263"/>
            <ac:spMk id="77" creationId="{7D0B9666-3719-1805-B13B-7CFFAA25FC5F}"/>
          </ac:spMkLst>
        </pc:spChg>
        <pc:spChg chg="mod">
          <ac:chgData name="Farha Shireen" userId="K9hHn9oINz5vZ9EtNhWdkbocU8fYfQRPeYvfmnVYJ7Q=" providerId="None" clId="Web-{926CF0C7-2FC8-4F27-9DF3-8C2D93D3D829}" dt="2025-03-06T20:23:11.342" v="31" actId="20577"/>
          <ac:spMkLst>
            <pc:docMk/>
            <pc:sldMk cId="810637578" sldId="263"/>
            <ac:spMk id="80" creationId="{3848FF21-25C9-A6EE-D357-B1A2FA8D400F}"/>
          </ac:spMkLst>
        </pc:spChg>
        <pc:spChg chg="mod">
          <ac:chgData name="Farha Shireen" userId="K9hHn9oINz5vZ9EtNhWdkbocU8fYfQRPeYvfmnVYJ7Q=" providerId="None" clId="Web-{926CF0C7-2FC8-4F27-9DF3-8C2D93D3D829}" dt="2025-03-06T20:21:01.681" v="13" actId="20577"/>
          <ac:spMkLst>
            <pc:docMk/>
            <pc:sldMk cId="810637578" sldId="263"/>
            <ac:spMk id="81" creationId="{736A3F39-55EC-EE46-2D7A-20EBB6F3C7C8}"/>
          </ac:spMkLst>
        </pc:spChg>
        <pc:spChg chg="mod">
          <ac:chgData name="Farha Shireen" userId="K9hHn9oINz5vZ9EtNhWdkbocU8fYfQRPeYvfmnVYJ7Q=" providerId="None" clId="Web-{926CF0C7-2FC8-4F27-9DF3-8C2D93D3D829}" dt="2025-03-06T20:24:18.720" v="37" actId="20577"/>
          <ac:spMkLst>
            <pc:docMk/>
            <pc:sldMk cId="810637578" sldId="263"/>
            <ac:spMk id="87" creationId="{8CCB822F-761C-CC27-87F8-029A1489A5EA}"/>
          </ac:spMkLst>
        </pc:spChg>
        <pc:spChg chg="mod">
          <ac:chgData name="Farha Shireen" userId="K9hHn9oINz5vZ9EtNhWdkbocU8fYfQRPeYvfmnVYJ7Q=" providerId="None" clId="Web-{926CF0C7-2FC8-4F27-9DF3-8C2D93D3D829}" dt="2025-03-06T20:53:01.175" v="166" actId="688"/>
          <ac:spMkLst>
            <pc:docMk/>
            <pc:sldMk cId="810637578" sldId="263"/>
            <ac:spMk id="93" creationId="{0A6C5382-6321-4B46-5C49-6CFFA28977A1}"/>
          </ac:spMkLst>
        </pc:spChg>
        <pc:spChg chg="mod">
          <ac:chgData name="Farha Shireen" userId="K9hHn9oINz5vZ9EtNhWdkbocU8fYfQRPeYvfmnVYJ7Q=" providerId="None" clId="Web-{926CF0C7-2FC8-4F27-9DF3-8C2D93D3D829}" dt="2025-03-06T20:29:22.372" v="66" actId="20577"/>
          <ac:spMkLst>
            <pc:docMk/>
            <pc:sldMk cId="810637578" sldId="263"/>
            <ac:spMk id="103" creationId="{714B413B-18F0-E1B8-CE3F-373315363887}"/>
          </ac:spMkLst>
        </pc:spChg>
        <pc:spChg chg="mod">
          <ac:chgData name="Farha Shireen" userId="K9hHn9oINz5vZ9EtNhWdkbocU8fYfQRPeYvfmnVYJ7Q=" providerId="None" clId="Web-{926CF0C7-2FC8-4F27-9DF3-8C2D93D3D829}" dt="2025-03-06T20:25:25.363" v="43" actId="20577"/>
          <ac:spMkLst>
            <pc:docMk/>
            <pc:sldMk cId="810637578" sldId="263"/>
            <ac:spMk id="105" creationId="{F3F38A43-0A4B-88AD-6539-02458E1CB45C}"/>
          </ac:spMkLst>
        </pc:spChg>
        <pc:spChg chg="mod">
          <ac:chgData name="Farha Shireen" userId="K9hHn9oINz5vZ9EtNhWdkbocU8fYfQRPeYvfmnVYJ7Q=" providerId="None" clId="Web-{926CF0C7-2FC8-4F27-9DF3-8C2D93D3D829}" dt="2025-03-06T20:25:49.223" v="46" actId="20577"/>
          <ac:spMkLst>
            <pc:docMk/>
            <pc:sldMk cId="810637578" sldId="263"/>
            <ac:spMk id="106" creationId="{9C71C168-F78F-D512-FE12-4A0575D8FD56}"/>
          </ac:spMkLst>
        </pc:spChg>
        <pc:spChg chg="mod">
          <ac:chgData name="Farha Shireen" userId="K9hHn9oINz5vZ9EtNhWdkbocU8fYfQRPeYvfmnVYJ7Q=" providerId="None" clId="Web-{926CF0C7-2FC8-4F27-9DF3-8C2D93D3D829}" dt="2025-03-06T20:26:08.771" v="50" actId="20577"/>
          <ac:spMkLst>
            <pc:docMk/>
            <pc:sldMk cId="810637578" sldId="263"/>
            <ac:spMk id="107" creationId="{EB9A831C-D977-1EE7-2F6C-B58C2FD1B355}"/>
          </ac:spMkLst>
        </pc:spChg>
        <pc:spChg chg="mod">
          <ac:chgData name="Farha Shireen" userId="K9hHn9oINz5vZ9EtNhWdkbocU8fYfQRPeYvfmnVYJ7Q=" providerId="None" clId="Web-{926CF0C7-2FC8-4F27-9DF3-8C2D93D3D829}" dt="2025-03-06T20:16:49.515" v="1" actId="14100"/>
          <ac:spMkLst>
            <pc:docMk/>
            <pc:sldMk cId="810637578" sldId="263"/>
            <ac:spMk id="109" creationId="{D794F7B6-70C0-E90C-9620-2C70991EFA83}"/>
          </ac:spMkLst>
        </pc:spChg>
        <pc:spChg chg="mod">
          <ac:chgData name="Farha Shireen" userId="K9hHn9oINz5vZ9EtNhWdkbocU8fYfQRPeYvfmnVYJ7Q=" providerId="None" clId="Web-{926CF0C7-2FC8-4F27-9DF3-8C2D93D3D829}" dt="2025-03-06T20:24:35.002" v="38" actId="20577"/>
          <ac:spMkLst>
            <pc:docMk/>
            <pc:sldMk cId="810637578" sldId="263"/>
            <ac:spMk id="127" creationId="{FE7B4270-3224-663B-B190-7CE82AB374E6}"/>
          </ac:spMkLst>
        </pc:spChg>
        <pc:spChg chg="add del">
          <ac:chgData name="Farha Shireen" userId="K9hHn9oINz5vZ9EtNhWdkbocU8fYfQRPeYvfmnVYJ7Q=" providerId="None" clId="Web-{926CF0C7-2FC8-4F27-9DF3-8C2D93D3D829}" dt="2025-03-06T20:45:06.313" v="133"/>
          <ac:spMkLst>
            <pc:docMk/>
            <pc:sldMk cId="810637578" sldId="263"/>
            <ac:spMk id="141" creationId="{CB0AAAEE-CF55-D319-EBEE-4754ED5D6E59}"/>
          </ac:spMkLst>
        </pc:spChg>
        <pc:spChg chg="add del">
          <ac:chgData name="Farha Shireen" userId="K9hHn9oINz5vZ9EtNhWdkbocU8fYfQRPeYvfmnVYJ7Q=" providerId="None" clId="Web-{926CF0C7-2FC8-4F27-9DF3-8C2D93D3D829}" dt="2025-03-06T20:45:02.923" v="132"/>
          <ac:spMkLst>
            <pc:docMk/>
            <pc:sldMk cId="810637578" sldId="263"/>
            <ac:spMk id="143" creationId="{9B9CD281-6CB7-C060-A20C-AA10909B8408}"/>
          </ac:spMkLst>
        </pc:spChg>
        <pc:spChg chg="add mod">
          <ac:chgData name="Farha Shireen" userId="K9hHn9oINz5vZ9EtNhWdkbocU8fYfQRPeYvfmnVYJ7Q=" providerId="None" clId="Web-{926CF0C7-2FC8-4F27-9DF3-8C2D93D3D829}" dt="2025-03-06T20:46:59.865" v="144"/>
          <ac:spMkLst>
            <pc:docMk/>
            <pc:sldMk cId="810637578" sldId="263"/>
            <ac:spMk id="144" creationId="{7A944E77-0F91-A2B8-D59F-8AACC1B5F480}"/>
          </ac:spMkLst>
        </pc:spChg>
        <pc:grpChg chg="mod">
          <ac:chgData name="Farha Shireen" userId="K9hHn9oINz5vZ9EtNhWdkbocU8fYfQRPeYvfmnVYJ7Q=" providerId="None" clId="Web-{926CF0C7-2FC8-4F27-9DF3-8C2D93D3D829}" dt="2025-03-06T20:23:56.235" v="36" actId="1076"/>
          <ac:grpSpMkLst>
            <pc:docMk/>
            <pc:sldMk cId="810637578" sldId="263"/>
            <ac:grpSpMk id="92" creationId="{8E2C802D-9017-2B1C-065A-FBF42B648649}"/>
          </ac:grpSpMkLst>
        </pc:grpChg>
        <pc:graphicFrameChg chg="mod">
          <ac:chgData name="Farha Shireen" userId="K9hHn9oINz5vZ9EtNhWdkbocU8fYfQRPeYvfmnVYJ7Q=" providerId="None" clId="Web-{926CF0C7-2FC8-4F27-9DF3-8C2D93D3D829}" dt="2025-03-06T20:21:48.417" v="19" actId="1076"/>
          <ac:graphicFrameMkLst>
            <pc:docMk/>
            <pc:sldMk cId="810637578" sldId="263"/>
            <ac:graphicFrameMk id="22" creationId="{5B594D09-B3D6-9151-40B6-4E402FEABE42}"/>
          </ac:graphicFrameMkLst>
        </pc:graphicFrameChg>
        <pc:picChg chg="mod">
          <ac:chgData name="Farha Shireen" userId="K9hHn9oINz5vZ9EtNhWdkbocU8fYfQRPeYvfmnVYJ7Q=" providerId="None" clId="Web-{926CF0C7-2FC8-4F27-9DF3-8C2D93D3D829}" dt="2025-03-06T20:43:59.983" v="120" actId="1076"/>
          <ac:picMkLst>
            <pc:docMk/>
            <pc:sldMk cId="810637578" sldId="263"/>
            <ac:picMk id="4" creationId="{486A0C58-EC79-1171-04D5-69D65D61C307}"/>
          </ac:picMkLst>
        </pc:picChg>
        <pc:picChg chg="mod">
          <ac:chgData name="Farha Shireen" userId="K9hHn9oINz5vZ9EtNhWdkbocU8fYfQRPeYvfmnVYJ7Q=" providerId="None" clId="Web-{926CF0C7-2FC8-4F27-9DF3-8C2D93D3D829}" dt="2025-03-06T20:40:16.615" v="112" actId="1076"/>
          <ac:picMkLst>
            <pc:docMk/>
            <pc:sldMk cId="810637578" sldId="263"/>
            <ac:picMk id="85" creationId="{E953E701-0539-7D31-6310-E5C121F80CCB}"/>
          </ac:picMkLst>
        </pc:picChg>
        <pc:picChg chg="mod">
          <ac:chgData name="Farha Shireen" userId="K9hHn9oINz5vZ9EtNhWdkbocU8fYfQRPeYvfmnVYJ7Q=" providerId="None" clId="Web-{926CF0C7-2FC8-4F27-9DF3-8C2D93D3D829}" dt="2025-03-06T20:50:18.872" v="162" actId="1076"/>
          <ac:picMkLst>
            <pc:docMk/>
            <pc:sldMk cId="810637578" sldId="263"/>
            <ac:picMk id="113" creationId="{F18D496A-11C0-2F8D-34D1-C357C346DC53}"/>
          </ac:picMkLst>
        </pc:picChg>
        <pc:picChg chg="mod">
          <ac:chgData name="Farha Shireen" userId="K9hHn9oINz5vZ9EtNhWdkbocU8fYfQRPeYvfmnVYJ7Q=" providerId="None" clId="Web-{926CF0C7-2FC8-4F27-9DF3-8C2D93D3D829}" dt="2025-03-06T20:50:13.872" v="161" actId="1076"/>
          <ac:picMkLst>
            <pc:docMk/>
            <pc:sldMk cId="810637578" sldId="263"/>
            <ac:picMk id="119" creationId="{807D2418-034A-EAC4-2825-D4DB770A0295}"/>
          </ac:picMkLst>
        </pc:picChg>
        <pc:picChg chg="mod">
          <ac:chgData name="Farha Shireen" userId="K9hHn9oINz5vZ9EtNhWdkbocU8fYfQRPeYvfmnVYJ7Q=" providerId="None" clId="Web-{926CF0C7-2FC8-4F27-9DF3-8C2D93D3D829}" dt="2025-03-06T20:47:34.381" v="145" actId="1076"/>
          <ac:picMkLst>
            <pc:docMk/>
            <pc:sldMk cId="810637578" sldId="263"/>
            <ac:picMk id="128" creationId="{AC948E2B-A3B9-4653-E89C-79DA1082D059}"/>
          </ac:picMkLst>
        </pc:picChg>
        <pc:picChg chg="mod">
          <ac:chgData name="Farha Shireen" userId="K9hHn9oINz5vZ9EtNhWdkbocU8fYfQRPeYvfmnVYJ7Q=" providerId="None" clId="Web-{926CF0C7-2FC8-4F27-9DF3-8C2D93D3D829}" dt="2025-03-06T20:49:45.699" v="156" actId="1076"/>
          <ac:picMkLst>
            <pc:docMk/>
            <pc:sldMk cId="810637578" sldId="263"/>
            <ac:picMk id="135" creationId="{B51AE199-CA1B-61A5-524E-4E32922D6E5C}"/>
          </ac:picMkLst>
        </pc:picChg>
        <pc:picChg chg="mod">
          <ac:chgData name="Farha Shireen" userId="K9hHn9oINz5vZ9EtNhWdkbocU8fYfQRPeYvfmnVYJ7Q=" providerId="None" clId="Web-{926CF0C7-2FC8-4F27-9DF3-8C2D93D3D829}" dt="2025-03-06T20:51:45.938" v="163" actId="1076"/>
          <ac:picMkLst>
            <pc:docMk/>
            <pc:sldMk cId="810637578" sldId="263"/>
            <ac:picMk id="136" creationId="{05916903-9926-EC8C-54D0-971BAC4860ED}"/>
          </ac:picMkLst>
        </pc:picChg>
        <pc:picChg chg="mod">
          <ac:chgData name="Farha Shireen" userId="K9hHn9oINz5vZ9EtNhWdkbocU8fYfQRPeYvfmnVYJ7Q=" providerId="None" clId="Web-{926CF0C7-2FC8-4F27-9DF3-8C2D93D3D829}" dt="2025-03-06T20:49:56.918" v="159" actId="1076"/>
          <ac:picMkLst>
            <pc:docMk/>
            <pc:sldMk cId="810637578" sldId="263"/>
            <ac:picMk id="137" creationId="{FD36B874-DD99-19AC-936B-E99ECCB3DD1D}"/>
          </ac:picMkLst>
        </pc:picChg>
        <pc:picChg chg="mod">
          <ac:chgData name="Farha Shireen" userId="K9hHn9oINz5vZ9EtNhWdkbocU8fYfQRPeYvfmnVYJ7Q=" providerId="None" clId="Web-{926CF0C7-2FC8-4F27-9DF3-8C2D93D3D829}" dt="2025-03-06T20:49:48.808" v="157" actId="1076"/>
          <ac:picMkLst>
            <pc:docMk/>
            <pc:sldMk cId="810637578" sldId="263"/>
            <ac:picMk id="138" creationId="{6CDE29A6-44D3-349D-1214-56EFAAE8F226}"/>
          </ac:picMkLst>
        </pc:picChg>
        <pc:picChg chg="mod">
          <ac:chgData name="Farha Shireen" userId="K9hHn9oINz5vZ9EtNhWdkbocU8fYfQRPeYvfmnVYJ7Q=" providerId="None" clId="Web-{926CF0C7-2FC8-4F27-9DF3-8C2D93D3D829}" dt="2025-03-06T20:55:09.164" v="167" actId="1076"/>
          <ac:picMkLst>
            <pc:docMk/>
            <pc:sldMk cId="810637578" sldId="263"/>
            <ac:picMk id="139" creationId="{6166D332-7B39-7162-75E9-D849EFBFBBA0}"/>
          </ac:picMkLst>
        </pc:picChg>
        <pc:picChg chg="mod">
          <ac:chgData name="Farha Shireen" userId="K9hHn9oINz5vZ9EtNhWdkbocU8fYfQRPeYvfmnVYJ7Q=" providerId="None" clId="Web-{926CF0C7-2FC8-4F27-9DF3-8C2D93D3D829}" dt="2025-03-06T20:49:50.558" v="158" actId="1076"/>
          <ac:picMkLst>
            <pc:docMk/>
            <pc:sldMk cId="810637578" sldId="263"/>
            <ac:picMk id="140" creationId="{89BEF956-BD3D-ACEA-2539-B3B702E603DB}"/>
          </ac:picMkLst>
        </pc:picChg>
      </pc:sldChg>
    </pc:docChg>
  </pc:docChgLst>
  <pc:docChgLst>
    <pc:chgData name="Ananth Mohan" userId="0+ntHPCRoNBLvPdhBUzfljBEc8fje1ZhpS6eiRuEUeE=" providerId="None" clId="Web-{F315C74F-6BA8-4674-8006-EE55028510C4}"/>
    <pc:docChg chg="modSld">
      <pc:chgData name="Ananth Mohan" userId="0+ntHPCRoNBLvPdhBUzfljBEc8fje1ZhpS6eiRuEUeE=" providerId="None" clId="Web-{F315C74F-6BA8-4674-8006-EE55028510C4}" dt="2025-03-27T18:24:56.236" v="135" actId="1076"/>
      <pc:docMkLst>
        <pc:docMk/>
      </pc:docMkLst>
      <pc:sldChg chg="addSp delSp modSp">
        <pc:chgData name="Ananth Mohan" userId="0+ntHPCRoNBLvPdhBUzfljBEc8fje1ZhpS6eiRuEUeE=" providerId="None" clId="Web-{F315C74F-6BA8-4674-8006-EE55028510C4}" dt="2025-03-27T18:24:56.236" v="135" actId="1076"/>
        <pc:sldMkLst>
          <pc:docMk/>
          <pc:sldMk cId="810637578" sldId="263"/>
        </pc:sldMkLst>
        <pc:spChg chg="mod">
          <ac:chgData name="Ananth Mohan" userId="0+ntHPCRoNBLvPdhBUzfljBEc8fje1ZhpS6eiRuEUeE=" providerId="None" clId="Web-{F315C74F-6BA8-4674-8006-EE55028510C4}" dt="2025-03-27T17:08:58.369" v="1" actId="1076"/>
          <ac:spMkLst>
            <pc:docMk/>
            <pc:sldMk cId="810637578" sldId="263"/>
            <ac:spMk id="5" creationId="{D4253DBF-C5E1-107A-A92F-3342904DDE9F}"/>
          </ac:spMkLst>
        </pc:spChg>
        <pc:spChg chg="mod">
          <ac:chgData name="Ananth Mohan" userId="0+ntHPCRoNBLvPdhBUzfljBEc8fje1ZhpS6eiRuEUeE=" providerId="None" clId="Web-{F315C74F-6BA8-4674-8006-EE55028510C4}" dt="2025-03-27T17:20:21.102" v="120" actId="1076"/>
          <ac:spMkLst>
            <pc:docMk/>
            <pc:sldMk cId="810637578" sldId="263"/>
            <ac:spMk id="10" creationId="{E12A2CB5-31B3-B8A1-AC34-E6539E91DD51}"/>
          </ac:spMkLst>
        </pc:spChg>
        <pc:spChg chg="mod ord topLvl">
          <ac:chgData name="Ananth Mohan" userId="0+ntHPCRoNBLvPdhBUzfljBEc8fje1ZhpS6eiRuEUeE=" providerId="None" clId="Web-{F315C74F-6BA8-4674-8006-EE55028510C4}" dt="2025-03-27T17:12:36.582" v="77" actId="1076"/>
          <ac:spMkLst>
            <pc:docMk/>
            <pc:sldMk cId="810637578" sldId="263"/>
            <ac:spMk id="17" creationId="{C9B4D23D-7D0A-5D8B-63F7-3F63C3CE303F}"/>
          </ac:spMkLst>
        </pc:spChg>
        <pc:spChg chg="mod ord topLvl">
          <ac:chgData name="Ananth Mohan" userId="0+ntHPCRoNBLvPdhBUzfljBEc8fje1ZhpS6eiRuEUeE=" providerId="None" clId="Web-{F315C74F-6BA8-4674-8006-EE55028510C4}" dt="2025-03-27T17:13:04.677" v="86" actId="1076"/>
          <ac:spMkLst>
            <pc:docMk/>
            <pc:sldMk cId="810637578" sldId="263"/>
            <ac:spMk id="29" creationId="{5EB35800-EDB5-0BBE-2A57-90700E72F066}"/>
          </ac:spMkLst>
        </pc:spChg>
        <pc:spChg chg="mod topLvl">
          <ac:chgData name="Ananth Mohan" userId="0+ntHPCRoNBLvPdhBUzfljBEc8fje1ZhpS6eiRuEUeE=" providerId="None" clId="Web-{F315C74F-6BA8-4674-8006-EE55028510C4}" dt="2025-03-27T17:12:58.067" v="84" actId="1076"/>
          <ac:spMkLst>
            <pc:docMk/>
            <pc:sldMk cId="810637578" sldId="263"/>
            <ac:spMk id="31" creationId="{3663D265-9D7B-DEF2-B11B-426B2958C548}"/>
          </ac:spMkLst>
        </pc:spChg>
        <pc:spChg chg="mod">
          <ac:chgData name="Ananth Mohan" userId="0+ntHPCRoNBLvPdhBUzfljBEc8fje1ZhpS6eiRuEUeE=" providerId="None" clId="Web-{F315C74F-6BA8-4674-8006-EE55028510C4}" dt="2025-03-27T17:12:19.143" v="74" actId="1076"/>
          <ac:spMkLst>
            <pc:docMk/>
            <pc:sldMk cId="810637578" sldId="263"/>
            <ac:spMk id="32" creationId="{EAE3474C-EF93-7076-2819-D97501639379}"/>
          </ac:spMkLst>
        </pc:spChg>
        <pc:spChg chg="mod">
          <ac:chgData name="Ananth Mohan" userId="0+ntHPCRoNBLvPdhBUzfljBEc8fje1ZhpS6eiRuEUeE=" providerId="None" clId="Web-{F315C74F-6BA8-4674-8006-EE55028510C4}" dt="2025-03-27T17:20:29.212" v="121" actId="1076"/>
          <ac:spMkLst>
            <pc:docMk/>
            <pc:sldMk cId="810637578" sldId="263"/>
            <ac:spMk id="35" creationId="{91B69CFA-4206-66AF-2A07-747605122BB8}"/>
          </ac:spMkLst>
        </pc:spChg>
        <pc:spChg chg="ord topLvl">
          <ac:chgData name="Ananth Mohan" userId="0+ntHPCRoNBLvPdhBUzfljBEc8fje1ZhpS6eiRuEUeE=" providerId="None" clId="Web-{F315C74F-6BA8-4674-8006-EE55028510C4}" dt="2025-03-27T17:12:04.830" v="61"/>
          <ac:spMkLst>
            <pc:docMk/>
            <pc:sldMk cId="810637578" sldId="263"/>
            <ac:spMk id="36" creationId="{61F725B3-72D9-2F4A-317E-CF50B6717014}"/>
          </ac:spMkLst>
        </pc:spChg>
        <pc:spChg chg="topLvl">
          <ac:chgData name="Ananth Mohan" userId="0+ntHPCRoNBLvPdhBUzfljBEc8fje1ZhpS6eiRuEUeE=" providerId="None" clId="Web-{F315C74F-6BA8-4674-8006-EE55028510C4}" dt="2025-03-27T17:10:15.060" v="44"/>
          <ac:spMkLst>
            <pc:docMk/>
            <pc:sldMk cId="810637578" sldId="263"/>
            <ac:spMk id="38" creationId="{8E5015FF-F211-562D-8964-40A7D926CFF2}"/>
          </ac:spMkLst>
        </pc:spChg>
        <pc:spChg chg="del mod topLvl">
          <ac:chgData name="Ananth Mohan" userId="0+ntHPCRoNBLvPdhBUzfljBEc8fje1ZhpS6eiRuEUeE=" providerId="None" clId="Web-{F315C74F-6BA8-4674-8006-EE55028510C4}" dt="2025-03-27T17:16:18.326" v="101"/>
          <ac:spMkLst>
            <pc:docMk/>
            <pc:sldMk cId="810637578" sldId="263"/>
            <ac:spMk id="40" creationId="{586908C8-A80F-26A9-5444-7B8EDE5DD7C1}"/>
          </ac:spMkLst>
        </pc:spChg>
        <pc:spChg chg="del mod topLvl">
          <ac:chgData name="Ananth Mohan" userId="0+ntHPCRoNBLvPdhBUzfljBEc8fje1ZhpS6eiRuEUeE=" providerId="None" clId="Web-{F315C74F-6BA8-4674-8006-EE55028510C4}" dt="2025-03-27T17:13:39.959" v="88"/>
          <ac:spMkLst>
            <pc:docMk/>
            <pc:sldMk cId="810637578" sldId="263"/>
            <ac:spMk id="41" creationId="{916027A0-46FA-9047-D46C-A9D1352A0B91}"/>
          </ac:spMkLst>
        </pc:spChg>
        <pc:spChg chg="mod topLvl">
          <ac:chgData name="Ananth Mohan" userId="0+ntHPCRoNBLvPdhBUzfljBEc8fje1ZhpS6eiRuEUeE=" providerId="None" clId="Web-{F315C74F-6BA8-4674-8006-EE55028510C4}" dt="2025-03-27T17:12:19.143" v="72" actId="1076"/>
          <ac:spMkLst>
            <pc:docMk/>
            <pc:sldMk cId="810637578" sldId="263"/>
            <ac:spMk id="42" creationId="{AB35A3B5-8C6B-4D74-B51E-09AEEAB2B56B}"/>
          </ac:spMkLst>
        </pc:spChg>
        <pc:spChg chg="mod ord topLvl">
          <ac:chgData name="Ananth Mohan" userId="0+ntHPCRoNBLvPdhBUzfljBEc8fje1ZhpS6eiRuEUeE=" providerId="None" clId="Web-{F315C74F-6BA8-4674-8006-EE55028510C4}" dt="2025-03-27T17:12:06.362" v="62"/>
          <ac:spMkLst>
            <pc:docMk/>
            <pc:sldMk cId="810637578" sldId="263"/>
            <ac:spMk id="43" creationId="{8AF17DBA-7AFC-10E1-F1C6-FCC2122CC960}"/>
          </ac:spMkLst>
        </pc:spChg>
        <pc:spChg chg="mod">
          <ac:chgData name="Ananth Mohan" userId="0+ntHPCRoNBLvPdhBUzfljBEc8fje1ZhpS6eiRuEUeE=" providerId="None" clId="Web-{F315C74F-6BA8-4674-8006-EE55028510C4}" dt="2025-03-27T17:20:20.836" v="119" actId="1076"/>
          <ac:spMkLst>
            <pc:docMk/>
            <pc:sldMk cId="810637578" sldId="263"/>
            <ac:spMk id="44" creationId="{F3358298-A61B-585C-693F-B9E05EA84E2B}"/>
          </ac:spMkLst>
        </pc:spChg>
        <pc:spChg chg="mod ord topLvl">
          <ac:chgData name="Ananth Mohan" userId="0+ntHPCRoNBLvPdhBUzfljBEc8fje1ZhpS6eiRuEUeE=" providerId="None" clId="Web-{F315C74F-6BA8-4674-8006-EE55028510C4}" dt="2025-03-27T17:12:14.846" v="67"/>
          <ac:spMkLst>
            <pc:docMk/>
            <pc:sldMk cId="810637578" sldId="263"/>
            <ac:spMk id="45" creationId="{5F69154B-9145-BDC6-96D4-3D313DBD9140}"/>
          </ac:spMkLst>
        </pc:spChg>
        <pc:spChg chg="mod">
          <ac:chgData name="Ananth Mohan" userId="0+ntHPCRoNBLvPdhBUzfljBEc8fje1ZhpS6eiRuEUeE=" providerId="None" clId="Web-{F315C74F-6BA8-4674-8006-EE55028510C4}" dt="2025-03-27T17:16:22.998" v="102" actId="1076"/>
          <ac:spMkLst>
            <pc:docMk/>
            <pc:sldMk cId="810637578" sldId="263"/>
            <ac:spMk id="52" creationId="{8EEC4C13-5D83-4B2A-C1AF-78E482124E2E}"/>
          </ac:spMkLst>
        </pc:spChg>
        <pc:spChg chg="mod">
          <ac:chgData name="Ananth Mohan" userId="0+ntHPCRoNBLvPdhBUzfljBEc8fje1ZhpS6eiRuEUeE=" providerId="None" clId="Web-{F315C74F-6BA8-4674-8006-EE55028510C4}" dt="2025-03-27T17:20:07.242" v="118" actId="1076"/>
          <ac:spMkLst>
            <pc:docMk/>
            <pc:sldMk cId="810637578" sldId="263"/>
            <ac:spMk id="77" creationId="{7D0B9666-3719-1805-B13B-7CFFAA25FC5F}"/>
          </ac:spMkLst>
        </pc:spChg>
        <pc:spChg chg="mod">
          <ac:chgData name="Ananth Mohan" userId="0+ntHPCRoNBLvPdhBUzfljBEc8fje1ZhpS6eiRuEUeE=" providerId="None" clId="Web-{F315C74F-6BA8-4674-8006-EE55028510C4}" dt="2025-03-27T18:24:56.236" v="135" actId="1076"/>
          <ac:spMkLst>
            <pc:docMk/>
            <pc:sldMk cId="810637578" sldId="263"/>
            <ac:spMk id="81" creationId="{736A3F39-55EC-EE46-2D7A-20EBB6F3C7C8}"/>
          </ac:spMkLst>
        </pc:spChg>
        <pc:spChg chg="mod">
          <ac:chgData name="Ananth Mohan" userId="0+ntHPCRoNBLvPdhBUzfljBEc8fje1ZhpS6eiRuEUeE=" providerId="None" clId="Web-{F315C74F-6BA8-4674-8006-EE55028510C4}" dt="2025-03-27T17:20:35.040" v="123" actId="1076"/>
          <ac:spMkLst>
            <pc:docMk/>
            <pc:sldMk cId="810637578" sldId="263"/>
            <ac:spMk id="87" creationId="{8CCB822F-761C-CC27-87F8-029A1489A5EA}"/>
          </ac:spMkLst>
        </pc:spChg>
        <pc:spChg chg="mod">
          <ac:chgData name="Ananth Mohan" userId="0+ntHPCRoNBLvPdhBUzfljBEc8fje1ZhpS6eiRuEUeE=" providerId="None" clId="Web-{F315C74F-6BA8-4674-8006-EE55028510C4}" dt="2025-03-27T17:20:47.212" v="126" actId="1076"/>
          <ac:spMkLst>
            <pc:docMk/>
            <pc:sldMk cId="810637578" sldId="263"/>
            <ac:spMk id="93" creationId="{0A6C5382-6321-4B46-5C49-6CFFA28977A1}"/>
          </ac:spMkLst>
        </pc:spChg>
        <pc:spChg chg="mod">
          <ac:chgData name="Ananth Mohan" userId="0+ntHPCRoNBLvPdhBUzfljBEc8fje1ZhpS6eiRuEUeE=" providerId="None" clId="Web-{F315C74F-6BA8-4674-8006-EE55028510C4}" dt="2025-03-27T17:20:00.976" v="117" actId="1076"/>
          <ac:spMkLst>
            <pc:docMk/>
            <pc:sldMk cId="810637578" sldId="263"/>
            <ac:spMk id="106" creationId="{9C71C168-F78F-D512-FE12-4A0575D8FD56}"/>
          </ac:spMkLst>
        </pc:spChg>
        <pc:spChg chg="mod">
          <ac:chgData name="Ananth Mohan" userId="0+ntHPCRoNBLvPdhBUzfljBEc8fje1ZhpS6eiRuEUeE=" providerId="None" clId="Web-{F315C74F-6BA8-4674-8006-EE55028510C4}" dt="2025-03-27T17:20:42.697" v="124" actId="1076"/>
          <ac:spMkLst>
            <pc:docMk/>
            <pc:sldMk cId="810637578" sldId="263"/>
            <ac:spMk id="127" creationId="{FE7B4270-3224-663B-B190-7CE82AB374E6}"/>
          </ac:spMkLst>
        </pc:spChg>
        <pc:grpChg chg="mod">
          <ac:chgData name="Ananth Mohan" userId="0+ntHPCRoNBLvPdhBUzfljBEc8fje1ZhpS6eiRuEUeE=" providerId="None" clId="Web-{F315C74F-6BA8-4674-8006-EE55028510C4}" dt="2025-03-27T17:20:34.806" v="122" actId="1076"/>
          <ac:grpSpMkLst>
            <pc:docMk/>
            <pc:sldMk cId="810637578" sldId="263"/>
            <ac:grpSpMk id="92" creationId="{8E2C802D-9017-2B1C-065A-FBF42B648649}"/>
          </ac:grpSpMkLst>
        </pc:grpChg>
        <pc:picChg chg="mod">
          <ac:chgData name="Ananth Mohan" userId="0+ntHPCRoNBLvPdhBUzfljBEc8fje1ZhpS6eiRuEUeE=" providerId="None" clId="Web-{F315C74F-6BA8-4674-8006-EE55028510C4}" dt="2025-03-27T17:19:18.552" v="115" actId="1076"/>
          <ac:picMkLst>
            <pc:docMk/>
            <pc:sldMk cId="810637578" sldId="263"/>
            <ac:picMk id="3" creationId="{FAED5053-9F42-7076-66D3-0D0D992E7E7D}"/>
          </ac:picMkLst>
        </pc:picChg>
        <pc:picChg chg="add del mod">
          <ac:chgData name="Ananth Mohan" userId="0+ntHPCRoNBLvPdhBUzfljBEc8fje1ZhpS6eiRuEUeE=" providerId="None" clId="Web-{F315C74F-6BA8-4674-8006-EE55028510C4}" dt="2025-03-27T18:23:42.968" v="130"/>
          <ac:picMkLst>
            <pc:docMk/>
            <pc:sldMk cId="810637578" sldId="263"/>
            <ac:picMk id="4" creationId="{486A0C58-EC79-1171-04D5-69D65D61C307}"/>
          </ac:picMkLst>
        </pc:picChg>
        <pc:picChg chg="mod">
          <ac:chgData name="Ananth Mohan" userId="0+ntHPCRoNBLvPdhBUzfljBEc8fje1ZhpS6eiRuEUeE=" providerId="None" clId="Web-{F315C74F-6BA8-4674-8006-EE55028510C4}" dt="2025-03-27T17:19:17.615" v="111" actId="1076"/>
          <ac:picMkLst>
            <pc:docMk/>
            <pc:sldMk cId="810637578" sldId="263"/>
            <ac:picMk id="6" creationId="{17FC9AB6-0368-7A10-7759-A5B77B50E4C2}"/>
          </ac:picMkLst>
        </pc:picChg>
        <pc:picChg chg="mod">
          <ac:chgData name="Ananth Mohan" userId="0+ntHPCRoNBLvPdhBUzfljBEc8fje1ZhpS6eiRuEUeE=" providerId="None" clId="Web-{F315C74F-6BA8-4674-8006-EE55028510C4}" dt="2025-03-27T18:24:38.876" v="134" actId="1076"/>
          <ac:picMkLst>
            <pc:docMk/>
            <pc:sldMk cId="810637578" sldId="263"/>
            <ac:picMk id="14" creationId="{1548A0EE-44D8-5FCD-226A-27421ECD7486}"/>
          </ac:picMkLst>
        </pc:picChg>
        <pc:picChg chg="mod">
          <ac:chgData name="Ananth Mohan" userId="0+ntHPCRoNBLvPdhBUzfljBEc8fje1ZhpS6eiRuEUeE=" providerId="None" clId="Web-{F315C74F-6BA8-4674-8006-EE55028510C4}" dt="2025-03-27T17:12:31.441" v="76" actId="1076"/>
          <ac:picMkLst>
            <pc:docMk/>
            <pc:sldMk cId="810637578" sldId="263"/>
            <ac:picMk id="16" creationId="{0625277F-6D8C-8DFF-9705-C4FABB0C845A}"/>
          </ac:picMkLst>
        </pc:picChg>
        <pc:picChg chg="mod">
          <ac:chgData name="Ananth Mohan" userId="0+ntHPCRoNBLvPdhBUzfljBEc8fje1ZhpS6eiRuEUeE=" providerId="None" clId="Web-{F315C74F-6BA8-4674-8006-EE55028510C4}" dt="2025-03-27T17:19:17.849" v="112" actId="1076"/>
          <ac:picMkLst>
            <pc:docMk/>
            <pc:sldMk cId="810637578" sldId="263"/>
            <ac:picMk id="19" creationId="{8CC48D3F-FACA-D61A-D8D7-53B58A14805E}"/>
          </ac:picMkLst>
        </pc:picChg>
        <pc:picChg chg="mod">
          <ac:chgData name="Ananth Mohan" userId="0+ntHPCRoNBLvPdhBUzfljBEc8fje1ZhpS6eiRuEUeE=" providerId="None" clId="Web-{F315C74F-6BA8-4674-8006-EE55028510C4}" dt="2025-03-27T17:19:18.068" v="113" actId="1076"/>
          <ac:picMkLst>
            <pc:docMk/>
            <pc:sldMk cId="810637578" sldId="263"/>
            <ac:picMk id="20" creationId="{610A73A9-1EBF-8AC9-CDBE-6649694F9C76}"/>
          </ac:picMkLst>
        </pc:picChg>
        <pc:picChg chg="mod">
          <ac:chgData name="Ananth Mohan" userId="0+ntHPCRoNBLvPdhBUzfljBEc8fje1ZhpS6eiRuEUeE=" providerId="None" clId="Web-{F315C74F-6BA8-4674-8006-EE55028510C4}" dt="2025-03-27T17:19:18.318" v="114" actId="1076"/>
          <ac:picMkLst>
            <pc:docMk/>
            <pc:sldMk cId="810637578" sldId="263"/>
            <ac:picMk id="21" creationId="{296A8129-2C09-0036-03D9-B21FEE148C45}"/>
          </ac:picMkLst>
        </pc:picChg>
        <pc:picChg chg="mod">
          <ac:chgData name="Ananth Mohan" userId="0+ntHPCRoNBLvPdhBUzfljBEc8fje1ZhpS6eiRuEUeE=" providerId="None" clId="Web-{F315C74F-6BA8-4674-8006-EE55028510C4}" dt="2025-03-27T17:12:48.192" v="80" actId="1076"/>
          <ac:picMkLst>
            <pc:docMk/>
            <pc:sldMk cId="810637578" sldId="263"/>
            <ac:picMk id="28" creationId="{F8F74898-DD82-7EBE-304E-9C8EEDC013C6}"/>
          </ac:picMkLst>
        </pc:picChg>
        <pc:picChg chg="mod ord">
          <ac:chgData name="Ananth Mohan" userId="0+ntHPCRoNBLvPdhBUzfljBEc8fje1ZhpS6eiRuEUeE=" providerId="None" clId="Web-{F315C74F-6BA8-4674-8006-EE55028510C4}" dt="2025-03-27T17:12:47.942" v="79" actId="1076"/>
          <ac:picMkLst>
            <pc:docMk/>
            <pc:sldMk cId="810637578" sldId="263"/>
            <ac:picMk id="30" creationId="{03E30BE5-B3CB-A039-9301-F5CFE726B255}"/>
          </ac:picMkLst>
        </pc:picChg>
        <pc:picChg chg="mod">
          <ac:chgData name="Ananth Mohan" userId="0+ntHPCRoNBLvPdhBUzfljBEc8fje1ZhpS6eiRuEUeE=" providerId="None" clId="Web-{F315C74F-6BA8-4674-8006-EE55028510C4}" dt="2025-03-27T17:12:19.143" v="73" actId="1076"/>
          <ac:picMkLst>
            <pc:docMk/>
            <pc:sldMk cId="810637578" sldId="263"/>
            <ac:picMk id="34" creationId="{6F317624-54BB-CAB1-F192-71909F611D1B}"/>
          </ac:picMkLst>
        </pc:picChg>
        <pc:picChg chg="ord">
          <ac:chgData name="Ananth Mohan" userId="0+ntHPCRoNBLvPdhBUzfljBEc8fje1ZhpS6eiRuEUeE=" providerId="None" clId="Web-{F315C74F-6BA8-4674-8006-EE55028510C4}" dt="2025-03-27T17:12:13.753" v="66"/>
          <ac:picMkLst>
            <pc:docMk/>
            <pc:sldMk cId="810637578" sldId="263"/>
            <ac:picMk id="37" creationId="{5431A585-6875-16F5-88DB-A9E4E339787C}"/>
          </ac:picMkLst>
        </pc:picChg>
        <pc:picChg chg="mod">
          <ac:chgData name="Ananth Mohan" userId="0+ntHPCRoNBLvPdhBUzfljBEc8fje1ZhpS6eiRuEUeE=" providerId="None" clId="Web-{F315C74F-6BA8-4674-8006-EE55028510C4}" dt="2025-03-27T17:09:56.387" v="42" actId="1076"/>
          <ac:picMkLst>
            <pc:docMk/>
            <pc:sldMk cId="810637578" sldId="263"/>
            <ac:picMk id="85" creationId="{009ABF52-6B39-FE8A-90E5-ED0C27EF6EDE}"/>
          </ac:picMkLst>
        </pc:picChg>
        <pc:picChg chg="mod">
          <ac:chgData name="Ananth Mohan" userId="0+ntHPCRoNBLvPdhBUzfljBEc8fje1ZhpS6eiRuEUeE=" providerId="None" clId="Web-{F315C74F-6BA8-4674-8006-EE55028510C4}" dt="2025-03-27T17:09:54.871" v="36" actId="1076"/>
          <ac:picMkLst>
            <pc:docMk/>
            <pc:sldMk cId="810637578" sldId="263"/>
            <ac:picMk id="96" creationId="{8A1E435C-3168-AB10-5837-83EECFA6D9F8}"/>
          </ac:picMkLst>
        </pc:picChg>
        <pc:picChg chg="mod">
          <ac:chgData name="Ananth Mohan" userId="0+ntHPCRoNBLvPdhBUzfljBEc8fje1ZhpS6eiRuEUeE=" providerId="None" clId="Web-{F315C74F-6BA8-4674-8006-EE55028510C4}" dt="2025-03-27T17:09:55.121" v="37" actId="1076"/>
          <ac:picMkLst>
            <pc:docMk/>
            <pc:sldMk cId="810637578" sldId="263"/>
            <ac:picMk id="104" creationId="{FC64191F-787D-F12F-E95D-E6A87AAFD11E}"/>
          </ac:picMkLst>
        </pc:picChg>
        <pc:picChg chg="mod">
          <ac:chgData name="Ananth Mohan" userId="0+ntHPCRoNBLvPdhBUzfljBEc8fje1ZhpS6eiRuEUeE=" providerId="None" clId="Web-{F315C74F-6BA8-4674-8006-EE55028510C4}" dt="2025-03-27T17:09:56.606" v="43" actId="1076"/>
          <ac:picMkLst>
            <pc:docMk/>
            <pc:sldMk cId="810637578" sldId="263"/>
            <ac:picMk id="113" creationId="{D7E98399-819B-8F1B-DC68-F5F6E9C0C9E3}"/>
          </ac:picMkLst>
        </pc:picChg>
        <pc:picChg chg="mod">
          <ac:chgData name="Ananth Mohan" userId="0+ntHPCRoNBLvPdhBUzfljBEc8fje1ZhpS6eiRuEUeE=" providerId="None" clId="Web-{F315C74F-6BA8-4674-8006-EE55028510C4}" dt="2025-03-27T17:20:42.947" v="125" actId="1076"/>
          <ac:picMkLst>
            <pc:docMk/>
            <pc:sldMk cId="810637578" sldId="263"/>
            <ac:picMk id="125" creationId="{4C3E4435-5298-229F-59B5-6940E4928EA1}"/>
          </ac:picMkLst>
        </pc:picChg>
        <pc:picChg chg="mod">
          <ac:chgData name="Ananth Mohan" userId="0+ntHPCRoNBLvPdhBUzfljBEc8fje1ZhpS6eiRuEUeE=" providerId="None" clId="Web-{F315C74F-6BA8-4674-8006-EE55028510C4}" dt="2025-03-27T17:09:55.340" v="38" actId="1076"/>
          <ac:picMkLst>
            <pc:docMk/>
            <pc:sldMk cId="810637578" sldId="263"/>
            <ac:picMk id="141" creationId="{79FB5AEB-3DAD-1FFE-EEE8-34DE8B2D4409}"/>
          </ac:picMkLst>
        </pc:picChg>
        <pc:picChg chg="mod">
          <ac:chgData name="Ananth Mohan" userId="0+ntHPCRoNBLvPdhBUzfljBEc8fje1ZhpS6eiRuEUeE=" providerId="None" clId="Web-{F315C74F-6BA8-4674-8006-EE55028510C4}" dt="2025-03-27T17:09:55.575" v="39" actId="1076"/>
          <ac:picMkLst>
            <pc:docMk/>
            <pc:sldMk cId="810637578" sldId="263"/>
            <ac:picMk id="143" creationId="{AEF9494A-AD3C-E933-30A9-D6F8742DB88D}"/>
          </ac:picMkLst>
        </pc:picChg>
        <pc:picChg chg="mod">
          <ac:chgData name="Ananth Mohan" userId="0+ntHPCRoNBLvPdhBUzfljBEc8fje1ZhpS6eiRuEUeE=" providerId="None" clId="Web-{F315C74F-6BA8-4674-8006-EE55028510C4}" dt="2025-03-27T17:09:55.809" v="40" actId="1076"/>
          <ac:picMkLst>
            <pc:docMk/>
            <pc:sldMk cId="810637578" sldId="263"/>
            <ac:picMk id="145" creationId="{0F46F35B-A7FD-2D13-1A05-D60E19736906}"/>
          </ac:picMkLst>
        </pc:picChg>
        <pc:picChg chg="mod">
          <ac:chgData name="Ananth Mohan" userId="0+ntHPCRoNBLvPdhBUzfljBEc8fje1ZhpS6eiRuEUeE=" providerId="None" clId="Web-{F315C74F-6BA8-4674-8006-EE55028510C4}" dt="2025-03-27T17:09:56.122" v="41" actId="1076"/>
          <ac:picMkLst>
            <pc:docMk/>
            <pc:sldMk cId="810637578" sldId="263"/>
            <ac:picMk id="146" creationId="{42F02FF9-5933-F2E5-3055-58B04F0127B2}"/>
          </ac:picMkLst>
        </pc:picChg>
      </pc:sldChg>
    </pc:docChg>
  </pc:docChgLst>
  <pc:docChgLst>
    <pc:chgData name="Ananth Mohan" userId="0+ntHPCRoNBLvPdhBUzfljBEc8fje1ZhpS6eiRuEUeE=" providerId="None" clId="Web-{62CCE43B-33B5-4854-BFB6-C1CA31D4BD5B}"/>
    <pc:docChg chg="addSld modSld">
      <pc:chgData name="Ananth Mohan" userId="0+ntHPCRoNBLvPdhBUzfljBEc8fje1ZhpS6eiRuEUeE=" providerId="None" clId="Web-{62CCE43B-33B5-4854-BFB6-C1CA31D4BD5B}" dt="2025-03-30T02:31:20.519" v="338" actId="20577"/>
      <pc:docMkLst>
        <pc:docMk/>
      </pc:docMkLst>
      <pc:sldChg chg="modSp">
        <pc:chgData name="Ananth Mohan" userId="0+ntHPCRoNBLvPdhBUzfljBEc8fje1ZhpS6eiRuEUeE=" providerId="None" clId="Web-{62CCE43B-33B5-4854-BFB6-C1CA31D4BD5B}" dt="2025-03-30T02:23:13.025" v="336" actId="1076"/>
        <pc:sldMkLst>
          <pc:docMk/>
          <pc:sldMk cId="810637578" sldId="263"/>
        </pc:sldMkLst>
        <pc:spChg chg="mod">
          <ac:chgData name="Ananth Mohan" userId="0+ntHPCRoNBLvPdhBUzfljBEc8fje1ZhpS6eiRuEUeE=" providerId="None" clId="Web-{62CCE43B-33B5-4854-BFB6-C1CA31D4BD5B}" dt="2025-03-30T01:57:16.952" v="51" actId="20577"/>
          <ac:spMkLst>
            <pc:docMk/>
            <pc:sldMk cId="810637578" sldId="263"/>
            <ac:spMk id="5" creationId="{D4253DBF-C5E1-107A-A92F-3342904DDE9F}"/>
          </ac:spMkLst>
        </pc:spChg>
        <pc:spChg chg="mod">
          <ac:chgData name="Ananth Mohan" userId="0+ntHPCRoNBLvPdhBUzfljBEc8fje1ZhpS6eiRuEUeE=" providerId="None" clId="Web-{62CCE43B-33B5-4854-BFB6-C1CA31D4BD5B}" dt="2025-03-30T01:45:25.243" v="28" actId="1076"/>
          <ac:spMkLst>
            <pc:docMk/>
            <pc:sldMk cId="810637578" sldId="263"/>
            <ac:spMk id="7" creationId="{E7B59637-C03A-31BF-46F0-7D4762DDF8CA}"/>
          </ac:spMkLst>
        </pc:spChg>
        <pc:spChg chg="mod">
          <ac:chgData name="Ananth Mohan" userId="0+ntHPCRoNBLvPdhBUzfljBEc8fje1ZhpS6eiRuEUeE=" providerId="None" clId="Web-{62CCE43B-33B5-4854-BFB6-C1CA31D4BD5B}" dt="2025-03-30T01:45:24.853" v="26" actId="1076"/>
          <ac:spMkLst>
            <pc:docMk/>
            <pc:sldMk cId="810637578" sldId="263"/>
            <ac:spMk id="35" creationId="{91B69CFA-4206-66AF-2A07-747605122BB8}"/>
          </ac:spMkLst>
        </pc:spChg>
        <pc:spChg chg="mod">
          <ac:chgData name="Ananth Mohan" userId="0+ntHPCRoNBLvPdhBUzfljBEc8fje1ZhpS6eiRuEUeE=" providerId="None" clId="Web-{62CCE43B-33B5-4854-BFB6-C1CA31D4BD5B}" dt="2025-03-30T01:46:28.837" v="38" actId="1076"/>
          <ac:spMkLst>
            <pc:docMk/>
            <pc:sldMk cId="810637578" sldId="263"/>
            <ac:spMk id="46" creationId="{128408B0-2E53-67DC-0B76-B79941F975F2}"/>
          </ac:spMkLst>
        </pc:spChg>
        <pc:spChg chg="mod">
          <ac:chgData name="Ananth Mohan" userId="0+ntHPCRoNBLvPdhBUzfljBEc8fje1ZhpS6eiRuEUeE=" providerId="None" clId="Web-{62CCE43B-33B5-4854-BFB6-C1CA31D4BD5B}" dt="2025-03-30T02:22:53.182" v="334" actId="1076"/>
          <ac:spMkLst>
            <pc:docMk/>
            <pc:sldMk cId="810637578" sldId="263"/>
            <ac:spMk id="47" creationId="{07E0DD1A-7B39-59B9-3A3A-EA3C42D7D74A}"/>
          </ac:spMkLst>
        </pc:spChg>
        <pc:spChg chg="mod">
          <ac:chgData name="Ananth Mohan" userId="0+ntHPCRoNBLvPdhBUzfljBEc8fje1ZhpS6eiRuEUeE=" providerId="None" clId="Web-{62CCE43B-33B5-4854-BFB6-C1CA31D4BD5B}" dt="2025-03-30T02:22:53.182" v="333" actId="1076"/>
          <ac:spMkLst>
            <pc:docMk/>
            <pc:sldMk cId="810637578" sldId="263"/>
            <ac:spMk id="48" creationId="{4DE82104-B1AB-67A3-78DD-417745282239}"/>
          </ac:spMkLst>
        </pc:spChg>
        <pc:spChg chg="mod">
          <ac:chgData name="Ananth Mohan" userId="0+ntHPCRoNBLvPdhBUzfljBEc8fje1ZhpS6eiRuEUeE=" providerId="None" clId="Web-{62CCE43B-33B5-4854-BFB6-C1CA31D4BD5B}" dt="2025-03-30T02:22:53.182" v="332" actId="1076"/>
          <ac:spMkLst>
            <pc:docMk/>
            <pc:sldMk cId="810637578" sldId="263"/>
            <ac:spMk id="49" creationId="{607C8AF3-E134-057E-35D7-F14B9338B342}"/>
          </ac:spMkLst>
        </pc:spChg>
        <pc:spChg chg="mod">
          <ac:chgData name="Ananth Mohan" userId="0+ntHPCRoNBLvPdhBUzfljBEc8fje1ZhpS6eiRuEUeE=" providerId="None" clId="Web-{62CCE43B-33B5-4854-BFB6-C1CA31D4BD5B}" dt="2025-03-30T01:45:59.056" v="33" actId="1076"/>
          <ac:spMkLst>
            <pc:docMk/>
            <pc:sldMk cId="810637578" sldId="263"/>
            <ac:spMk id="60" creationId="{61CC4148-BB21-3F7A-C597-9DC07E32875D}"/>
          </ac:spMkLst>
        </pc:spChg>
        <pc:spChg chg="mod">
          <ac:chgData name="Ananth Mohan" userId="0+ntHPCRoNBLvPdhBUzfljBEc8fje1ZhpS6eiRuEUeE=" providerId="None" clId="Web-{62CCE43B-33B5-4854-BFB6-C1CA31D4BD5B}" dt="2025-03-30T01:46:08.978" v="36" actId="1076"/>
          <ac:spMkLst>
            <pc:docMk/>
            <pc:sldMk cId="810637578" sldId="263"/>
            <ac:spMk id="66" creationId="{40E89E01-E3E4-9733-0C89-9A0C3565116C}"/>
          </ac:spMkLst>
        </pc:spChg>
        <pc:spChg chg="mod">
          <ac:chgData name="Ananth Mohan" userId="0+ntHPCRoNBLvPdhBUzfljBEc8fje1ZhpS6eiRuEUeE=" providerId="None" clId="Web-{62CCE43B-33B5-4854-BFB6-C1CA31D4BD5B}" dt="2025-03-30T01:46:13.993" v="37" actId="1076"/>
          <ac:spMkLst>
            <pc:docMk/>
            <pc:sldMk cId="810637578" sldId="263"/>
            <ac:spMk id="69" creationId="{776AF60B-BFA5-9759-BCD1-2B2694CCF0E5}"/>
          </ac:spMkLst>
        </pc:spChg>
        <pc:spChg chg="mod">
          <ac:chgData name="Ananth Mohan" userId="0+ntHPCRoNBLvPdhBUzfljBEc8fje1ZhpS6eiRuEUeE=" providerId="None" clId="Web-{62CCE43B-33B5-4854-BFB6-C1CA31D4BD5B}" dt="2025-03-30T01:45:23.899" v="21" actId="1076"/>
          <ac:spMkLst>
            <pc:docMk/>
            <pc:sldMk cId="810637578" sldId="263"/>
            <ac:spMk id="75" creationId="{93F3C628-36B3-04B5-05D2-77C7E4E26711}"/>
          </ac:spMkLst>
        </pc:spChg>
        <pc:spChg chg="mod">
          <ac:chgData name="Ananth Mohan" userId="0+ntHPCRoNBLvPdhBUzfljBEc8fje1ZhpS6eiRuEUeE=" providerId="None" clId="Web-{62CCE43B-33B5-4854-BFB6-C1CA31D4BD5B}" dt="2025-03-30T01:45:24.087" v="22" actId="1076"/>
          <ac:spMkLst>
            <pc:docMk/>
            <pc:sldMk cId="810637578" sldId="263"/>
            <ac:spMk id="77" creationId="{7D0B9666-3719-1805-B13B-7CFFAA25FC5F}"/>
          </ac:spMkLst>
        </pc:spChg>
        <pc:spChg chg="mod">
          <ac:chgData name="Ananth Mohan" userId="0+ntHPCRoNBLvPdhBUzfljBEc8fje1ZhpS6eiRuEUeE=" providerId="None" clId="Web-{62CCE43B-33B5-4854-BFB6-C1CA31D4BD5B}" dt="2025-03-30T01:45:50.650" v="32" actId="1076"/>
          <ac:spMkLst>
            <pc:docMk/>
            <pc:sldMk cId="810637578" sldId="263"/>
            <ac:spMk id="80" creationId="{3848FF21-25C9-A6EE-D357-B1A2FA8D400F}"/>
          </ac:spMkLst>
        </pc:spChg>
        <pc:spChg chg="mod">
          <ac:chgData name="Ananth Mohan" userId="0+ntHPCRoNBLvPdhBUzfljBEc8fje1ZhpS6eiRuEUeE=" providerId="None" clId="Web-{62CCE43B-33B5-4854-BFB6-C1CA31D4BD5B}" dt="2025-03-30T02:23:13.025" v="336" actId="1076"/>
          <ac:spMkLst>
            <pc:docMk/>
            <pc:sldMk cId="810637578" sldId="263"/>
            <ac:spMk id="81" creationId="{736A3F39-55EC-EE46-2D7A-20EBB6F3C7C8}"/>
          </ac:spMkLst>
        </pc:spChg>
        <pc:spChg chg="mod">
          <ac:chgData name="Ananth Mohan" userId="0+ntHPCRoNBLvPdhBUzfljBEc8fje1ZhpS6eiRuEUeE=" providerId="None" clId="Web-{62CCE43B-33B5-4854-BFB6-C1CA31D4BD5B}" dt="2025-03-30T02:21:47.509" v="322" actId="1076"/>
          <ac:spMkLst>
            <pc:docMk/>
            <pc:sldMk cId="810637578" sldId="263"/>
            <ac:spMk id="87" creationId="{8CCB822F-761C-CC27-87F8-029A1489A5EA}"/>
          </ac:spMkLst>
        </pc:spChg>
        <pc:spChg chg="mod">
          <ac:chgData name="Ananth Mohan" userId="0+ntHPCRoNBLvPdhBUzfljBEc8fje1ZhpS6eiRuEUeE=" providerId="None" clId="Web-{62CCE43B-33B5-4854-BFB6-C1CA31D4BD5B}" dt="2025-03-30T01:45:25.056" v="27" actId="1076"/>
          <ac:spMkLst>
            <pc:docMk/>
            <pc:sldMk cId="810637578" sldId="263"/>
            <ac:spMk id="93" creationId="{0A6C5382-6321-4B46-5C49-6CFFA28977A1}"/>
          </ac:spMkLst>
        </pc:spChg>
        <pc:spChg chg="mod">
          <ac:chgData name="Ananth Mohan" userId="0+ntHPCRoNBLvPdhBUzfljBEc8fje1ZhpS6eiRuEUeE=" providerId="None" clId="Web-{62CCE43B-33B5-4854-BFB6-C1CA31D4BD5B}" dt="2025-03-30T01:45:24.274" v="23" actId="1076"/>
          <ac:spMkLst>
            <pc:docMk/>
            <pc:sldMk cId="810637578" sldId="263"/>
            <ac:spMk id="105" creationId="{F3F38A43-0A4B-88AD-6539-02458E1CB45C}"/>
          </ac:spMkLst>
        </pc:spChg>
        <pc:spChg chg="mod">
          <ac:chgData name="Ananth Mohan" userId="0+ntHPCRoNBLvPdhBUzfljBEc8fje1ZhpS6eiRuEUeE=" providerId="None" clId="Web-{62CCE43B-33B5-4854-BFB6-C1CA31D4BD5B}" dt="2025-03-30T01:45:24.462" v="24" actId="1076"/>
          <ac:spMkLst>
            <pc:docMk/>
            <pc:sldMk cId="810637578" sldId="263"/>
            <ac:spMk id="106" creationId="{9C71C168-F78F-D512-FE12-4A0575D8FD56}"/>
          </ac:spMkLst>
        </pc:spChg>
        <pc:spChg chg="mod">
          <ac:chgData name="Ananth Mohan" userId="0+ntHPCRoNBLvPdhBUzfljBEc8fje1ZhpS6eiRuEUeE=" providerId="None" clId="Web-{62CCE43B-33B5-4854-BFB6-C1CA31D4BD5B}" dt="2025-03-30T01:45:24.649" v="25" actId="1076"/>
          <ac:spMkLst>
            <pc:docMk/>
            <pc:sldMk cId="810637578" sldId="263"/>
            <ac:spMk id="107" creationId="{EB9A831C-D977-1EE7-2F6C-B58C2FD1B355}"/>
          </ac:spMkLst>
        </pc:spChg>
        <pc:spChg chg="mod">
          <ac:chgData name="Ananth Mohan" userId="0+ntHPCRoNBLvPdhBUzfljBEc8fje1ZhpS6eiRuEUeE=" providerId="None" clId="Web-{62CCE43B-33B5-4854-BFB6-C1CA31D4BD5B}" dt="2025-03-30T02:21:47.697" v="323" actId="1076"/>
          <ac:spMkLst>
            <pc:docMk/>
            <pc:sldMk cId="810637578" sldId="263"/>
            <ac:spMk id="127" creationId="{FE7B4270-3224-663B-B190-7CE82AB374E6}"/>
          </ac:spMkLst>
        </pc:spChg>
        <pc:grpChg chg="mod">
          <ac:chgData name="Ananth Mohan" userId="0+ntHPCRoNBLvPdhBUzfljBEc8fje1ZhpS6eiRuEUeE=" providerId="None" clId="Web-{62CCE43B-33B5-4854-BFB6-C1CA31D4BD5B}" dt="2025-03-30T02:21:47.322" v="321" actId="1076"/>
          <ac:grpSpMkLst>
            <pc:docMk/>
            <pc:sldMk cId="810637578" sldId="263"/>
            <ac:grpSpMk id="92" creationId="{8E2C802D-9017-2B1C-065A-FBF42B648649}"/>
          </ac:grpSpMkLst>
        </pc:grpChg>
        <pc:picChg chg="mod">
          <ac:chgData name="Ananth Mohan" userId="0+ntHPCRoNBLvPdhBUzfljBEc8fje1ZhpS6eiRuEUeE=" providerId="None" clId="Web-{62CCE43B-33B5-4854-BFB6-C1CA31D4BD5B}" dt="2025-03-30T02:23:12.838" v="335" actId="1076"/>
          <ac:picMkLst>
            <pc:docMk/>
            <pc:sldMk cId="810637578" sldId="263"/>
            <ac:picMk id="14" creationId="{1548A0EE-44D8-5FCD-226A-27421ECD7486}"/>
          </ac:picMkLst>
        </pc:picChg>
        <pc:picChg chg="mod">
          <ac:chgData name="Ananth Mohan" userId="0+ntHPCRoNBLvPdhBUzfljBEc8fje1ZhpS6eiRuEUeE=" providerId="None" clId="Web-{62CCE43B-33B5-4854-BFB6-C1CA31D4BD5B}" dt="2025-03-30T01:48:12.713" v="45" actId="1076"/>
          <ac:picMkLst>
            <pc:docMk/>
            <pc:sldMk cId="810637578" sldId="263"/>
            <ac:picMk id="41" creationId="{F4FCF19C-9BFE-E50C-9D25-A28E4C766039}"/>
          </ac:picMkLst>
        </pc:picChg>
        <pc:picChg chg="mod">
          <ac:chgData name="Ananth Mohan" userId="0+ntHPCRoNBLvPdhBUzfljBEc8fje1ZhpS6eiRuEUeE=" providerId="None" clId="Web-{62CCE43B-33B5-4854-BFB6-C1CA31D4BD5B}" dt="2025-03-30T02:21:47.916" v="324" actId="1076"/>
          <ac:picMkLst>
            <pc:docMk/>
            <pc:sldMk cId="810637578" sldId="263"/>
            <ac:picMk id="125" creationId="{4C3E4435-5298-229F-59B5-6940E4928EA1}"/>
          </ac:picMkLst>
        </pc:picChg>
      </pc:sldChg>
      <pc:sldChg chg="delSp modSp add replId modCm">
        <pc:chgData name="Ananth Mohan" userId="0+ntHPCRoNBLvPdhBUzfljBEc8fje1ZhpS6eiRuEUeE=" providerId="None" clId="Web-{62CCE43B-33B5-4854-BFB6-C1CA31D4BD5B}" dt="2025-03-30T02:31:20.519" v="338" actId="20577"/>
        <pc:sldMkLst>
          <pc:docMk/>
          <pc:sldMk cId="3303383250" sldId="265"/>
        </pc:sldMkLst>
        <pc:spChg chg="mod">
          <ac:chgData name="Ananth Mohan" userId="0+ntHPCRoNBLvPdhBUzfljBEc8fje1ZhpS6eiRuEUeE=" providerId="None" clId="Web-{62CCE43B-33B5-4854-BFB6-C1CA31D4BD5B}" dt="2025-03-30T02:02:31.674" v="93" actId="1076"/>
          <ac:spMkLst>
            <pc:docMk/>
            <pc:sldMk cId="3303383250" sldId="265"/>
            <ac:spMk id="2" creationId="{74BFA0C8-07A4-04E2-718B-596C6D417791}"/>
          </ac:spMkLst>
        </pc:spChg>
        <pc:spChg chg="del mod">
          <ac:chgData name="Ananth Mohan" userId="0+ntHPCRoNBLvPdhBUzfljBEc8fje1ZhpS6eiRuEUeE=" providerId="None" clId="Web-{62CCE43B-33B5-4854-BFB6-C1CA31D4BD5B}" dt="2025-03-30T02:04:11.096" v="122"/>
          <ac:spMkLst>
            <pc:docMk/>
            <pc:sldMk cId="3303383250" sldId="265"/>
            <ac:spMk id="7" creationId="{84D02907-5078-ED94-7FF0-4C4335F81098}"/>
          </ac:spMkLst>
        </pc:spChg>
        <pc:spChg chg="mod">
          <ac:chgData name="Ananth Mohan" userId="0+ntHPCRoNBLvPdhBUzfljBEc8fje1ZhpS6eiRuEUeE=" providerId="None" clId="Web-{62CCE43B-33B5-4854-BFB6-C1CA31D4BD5B}" dt="2025-03-30T02:09:17.098" v="203" actId="1076"/>
          <ac:spMkLst>
            <pc:docMk/>
            <pc:sldMk cId="3303383250" sldId="265"/>
            <ac:spMk id="8" creationId="{DB92D537-8BFF-9DD3-56D8-5C5FF30C6F28}"/>
          </ac:spMkLst>
        </pc:spChg>
        <pc:spChg chg="mod ord">
          <ac:chgData name="Ananth Mohan" userId="0+ntHPCRoNBLvPdhBUzfljBEc8fje1ZhpS6eiRuEUeE=" providerId="None" clId="Web-{62CCE43B-33B5-4854-BFB6-C1CA31D4BD5B}" dt="2025-03-30T02:17:16.196" v="284" actId="1076"/>
          <ac:spMkLst>
            <pc:docMk/>
            <pc:sldMk cId="3303383250" sldId="265"/>
            <ac:spMk id="9" creationId="{9BB207A6-5DB5-9F65-7FE4-05B866288B1D}"/>
          </ac:spMkLst>
        </pc:spChg>
        <pc:spChg chg="mod">
          <ac:chgData name="Ananth Mohan" userId="0+ntHPCRoNBLvPdhBUzfljBEc8fje1ZhpS6eiRuEUeE=" providerId="None" clId="Web-{62CCE43B-33B5-4854-BFB6-C1CA31D4BD5B}" dt="2025-03-30T02:16:43.116" v="271"/>
          <ac:spMkLst>
            <pc:docMk/>
            <pc:sldMk cId="3303383250" sldId="265"/>
            <ac:spMk id="10" creationId="{EC26910D-EF9D-92D8-CC60-5C128DFDA98B}"/>
          </ac:spMkLst>
        </pc:spChg>
        <pc:spChg chg="mod ord">
          <ac:chgData name="Ananth Mohan" userId="0+ntHPCRoNBLvPdhBUzfljBEc8fje1ZhpS6eiRuEUeE=" providerId="None" clId="Web-{62CCE43B-33B5-4854-BFB6-C1CA31D4BD5B}" dt="2025-03-30T02:17:03.180" v="277"/>
          <ac:spMkLst>
            <pc:docMk/>
            <pc:sldMk cId="3303383250" sldId="265"/>
            <ac:spMk id="12" creationId="{CD465C23-EE68-DED7-613D-BC18DF25EE62}"/>
          </ac:spMkLst>
        </pc:spChg>
        <pc:spChg chg="mod">
          <ac:chgData name="Ananth Mohan" userId="0+ntHPCRoNBLvPdhBUzfljBEc8fje1ZhpS6eiRuEUeE=" providerId="None" clId="Web-{62CCE43B-33B5-4854-BFB6-C1CA31D4BD5B}" dt="2025-03-30T02:17:16.415" v="285" actId="1076"/>
          <ac:spMkLst>
            <pc:docMk/>
            <pc:sldMk cId="3303383250" sldId="265"/>
            <ac:spMk id="13" creationId="{E1FFC1CF-AC40-E16B-DCA0-4CB808FCB806}"/>
          </ac:spMkLst>
        </pc:spChg>
        <pc:spChg chg="mod">
          <ac:chgData name="Ananth Mohan" userId="0+ntHPCRoNBLvPdhBUzfljBEc8fje1ZhpS6eiRuEUeE=" providerId="None" clId="Web-{62CCE43B-33B5-4854-BFB6-C1CA31D4BD5B}" dt="2025-03-30T02:02:28.752" v="78" actId="1076"/>
          <ac:spMkLst>
            <pc:docMk/>
            <pc:sldMk cId="3303383250" sldId="265"/>
            <ac:spMk id="17" creationId="{2349C947-8C06-01CB-5BD8-8A5503C1443A}"/>
          </ac:spMkLst>
        </pc:spChg>
        <pc:spChg chg="mod">
          <ac:chgData name="Ananth Mohan" userId="0+ntHPCRoNBLvPdhBUzfljBEc8fje1ZhpS6eiRuEUeE=" providerId="None" clId="Web-{62CCE43B-33B5-4854-BFB6-C1CA31D4BD5B}" dt="2025-03-30T02:02:09.424" v="72" actId="1076"/>
          <ac:spMkLst>
            <pc:docMk/>
            <pc:sldMk cId="3303383250" sldId="265"/>
            <ac:spMk id="18" creationId="{280401C6-FD79-A8AE-FB6A-E5AB09A4D14E}"/>
          </ac:spMkLst>
        </pc:spChg>
        <pc:spChg chg="mod">
          <ac:chgData name="Ananth Mohan" userId="0+ntHPCRoNBLvPdhBUzfljBEc8fje1ZhpS6eiRuEUeE=" providerId="None" clId="Web-{62CCE43B-33B5-4854-BFB6-C1CA31D4BD5B}" dt="2025-03-30T02:09:20.738" v="222" actId="1076"/>
          <ac:spMkLst>
            <pc:docMk/>
            <pc:sldMk cId="3303383250" sldId="265"/>
            <ac:spMk id="23" creationId="{0C7DD3B6-65B2-D1EA-7B85-C5E827DCA94F}"/>
          </ac:spMkLst>
        </pc:spChg>
        <pc:spChg chg="mod">
          <ac:chgData name="Ananth Mohan" userId="0+ntHPCRoNBLvPdhBUzfljBEc8fje1ZhpS6eiRuEUeE=" providerId="None" clId="Web-{62CCE43B-33B5-4854-BFB6-C1CA31D4BD5B}" dt="2025-03-30T02:09:20.926" v="223" actId="1076"/>
          <ac:spMkLst>
            <pc:docMk/>
            <pc:sldMk cId="3303383250" sldId="265"/>
            <ac:spMk id="27" creationId="{515892E8-CDC3-D3EE-B0D1-61CA0A64FFF1}"/>
          </ac:spMkLst>
        </pc:spChg>
        <pc:spChg chg="mod">
          <ac:chgData name="Ananth Mohan" userId="0+ntHPCRoNBLvPdhBUzfljBEc8fje1ZhpS6eiRuEUeE=" providerId="None" clId="Web-{62CCE43B-33B5-4854-BFB6-C1CA31D4BD5B}" dt="2025-03-30T02:02:28.955" v="79" actId="1076"/>
          <ac:spMkLst>
            <pc:docMk/>
            <pc:sldMk cId="3303383250" sldId="265"/>
            <ac:spMk id="29" creationId="{A3888C01-6EB5-5EDB-54B3-84C0F4A8579B}"/>
          </ac:spMkLst>
        </pc:spChg>
        <pc:spChg chg="mod">
          <ac:chgData name="Ananth Mohan" userId="0+ntHPCRoNBLvPdhBUzfljBEc8fje1ZhpS6eiRuEUeE=" providerId="None" clId="Web-{62CCE43B-33B5-4854-BFB6-C1CA31D4BD5B}" dt="2025-03-30T02:02:29.721" v="83" actId="1076"/>
          <ac:spMkLst>
            <pc:docMk/>
            <pc:sldMk cId="3303383250" sldId="265"/>
            <ac:spMk id="31" creationId="{4A62D3D4-5E79-2DDA-2122-418EE27D592A}"/>
          </ac:spMkLst>
        </pc:spChg>
        <pc:spChg chg="mod">
          <ac:chgData name="Ananth Mohan" userId="0+ntHPCRoNBLvPdhBUzfljBEc8fje1ZhpS6eiRuEUeE=" providerId="None" clId="Web-{62CCE43B-33B5-4854-BFB6-C1CA31D4BD5B}" dt="2025-03-30T02:02:30.330" v="86" actId="1076"/>
          <ac:spMkLst>
            <pc:docMk/>
            <pc:sldMk cId="3303383250" sldId="265"/>
            <ac:spMk id="32" creationId="{CFBD32F7-03C9-A772-BC37-BB83CAE2C615}"/>
          </ac:spMkLst>
        </pc:spChg>
        <pc:spChg chg="mod">
          <ac:chgData name="Ananth Mohan" userId="0+ntHPCRoNBLvPdhBUzfljBEc8fje1ZhpS6eiRuEUeE=" providerId="None" clId="Web-{62CCE43B-33B5-4854-BFB6-C1CA31D4BD5B}" dt="2025-03-30T02:09:21.129" v="224" actId="1076"/>
          <ac:spMkLst>
            <pc:docMk/>
            <pc:sldMk cId="3303383250" sldId="265"/>
            <ac:spMk id="33" creationId="{219DC96F-CFA7-9908-9DBE-682E640E26F9}"/>
          </ac:spMkLst>
        </pc:spChg>
        <pc:spChg chg="mod">
          <ac:chgData name="Ananth Mohan" userId="0+ntHPCRoNBLvPdhBUzfljBEc8fje1ZhpS6eiRuEUeE=" providerId="None" clId="Web-{62CCE43B-33B5-4854-BFB6-C1CA31D4BD5B}" dt="2025-03-30T02:20:25.212" v="310" actId="20577"/>
          <ac:spMkLst>
            <pc:docMk/>
            <pc:sldMk cId="3303383250" sldId="265"/>
            <ac:spMk id="35" creationId="{B546E8FC-F0B0-2805-E88B-0730ED0C07B0}"/>
          </ac:spMkLst>
        </pc:spChg>
        <pc:spChg chg="mod">
          <ac:chgData name="Ananth Mohan" userId="0+ntHPCRoNBLvPdhBUzfljBEc8fje1ZhpS6eiRuEUeE=" providerId="None" clId="Web-{62CCE43B-33B5-4854-BFB6-C1CA31D4BD5B}" dt="2025-03-30T02:02:29.955" v="84" actId="1076"/>
          <ac:spMkLst>
            <pc:docMk/>
            <pc:sldMk cId="3303383250" sldId="265"/>
            <ac:spMk id="36" creationId="{8D196CCE-88E4-E9E0-6C1E-370B829EA2E9}"/>
          </ac:spMkLst>
        </pc:spChg>
        <pc:spChg chg="mod">
          <ac:chgData name="Ananth Mohan" userId="0+ntHPCRoNBLvPdhBUzfljBEc8fje1ZhpS6eiRuEUeE=" providerId="None" clId="Web-{62CCE43B-33B5-4854-BFB6-C1CA31D4BD5B}" dt="2025-03-30T02:02:30.705" v="88" actId="1076"/>
          <ac:spMkLst>
            <pc:docMk/>
            <pc:sldMk cId="3303383250" sldId="265"/>
            <ac:spMk id="38" creationId="{CF93609E-E80F-A7E6-5AEC-1E20ADD4BB37}"/>
          </ac:spMkLst>
        </pc:spChg>
        <pc:spChg chg="mod">
          <ac:chgData name="Ananth Mohan" userId="0+ntHPCRoNBLvPdhBUzfljBEc8fje1ZhpS6eiRuEUeE=" providerId="None" clId="Web-{62CCE43B-33B5-4854-BFB6-C1CA31D4BD5B}" dt="2025-03-30T02:02:31.283" v="91" actId="1076"/>
          <ac:spMkLst>
            <pc:docMk/>
            <pc:sldMk cId="3303383250" sldId="265"/>
            <ac:spMk id="42" creationId="{348C12DA-0D01-D7EA-693C-3740765B18C7}"/>
          </ac:spMkLst>
        </pc:spChg>
        <pc:spChg chg="mod">
          <ac:chgData name="Ananth Mohan" userId="0+ntHPCRoNBLvPdhBUzfljBEc8fje1ZhpS6eiRuEUeE=" providerId="None" clId="Web-{62CCE43B-33B5-4854-BFB6-C1CA31D4BD5B}" dt="2025-03-30T02:02:30.908" v="89" actId="1076"/>
          <ac:spMkLst>
            <pc:docMk/>
            <pc:sldMk cId="3303383250" sldId="265"/>
            <ac:spMk id="43" creationId="{1466B7A3-5089-6564-485B-8A11748CD04D}"/>
          </ac:spMkLst>
        </pc:spChg>
        <pc:spChg chg="mod">
          <ac:chgData name="Ananth Mohan" userId="0+ntHPCRoNBLvPdhBUzfljBEc8fje1ZhpS6eiRuEUeE=" providerId="None" clId="Web-{62CCE43B-33B5-4854-BFB6-C1CA31D4BD5B}" dt="2025-03-30T02:17:57.805" v="293" actId="14100"/>
          <ac:spMkLst>
            <pc:docMk/>
            <pc:sldMk cId="3303383250" sldId="265"/>
            <ac:spMk id="44" creationId="{71564F97-4B80-B889-B63E-487889A2B934}"/>
          </ac:spMkLst>
        </pc:spChg>
        <pc:spChg chg="mod">
          <ac:chgData name="Ananth Mohan" userId="0+ntHPCRoNBLvPdhBUzfljBEc8fje1ZhpS6eiRuEUeE=" providerId="None" clId="Web-{62CCE43B-33B5-4854-BFB6-C1CA31D4BD5B}" dt="2025-03-30T02:02:31.096" v="90" actId="1076"/>
          <ac:spMkLst>
            <pc:docMk/>
            <pc:sldMk cId="3303383250" sldId="265"/>
            <ac:spMk id="45" creationId="{AC256B52-0715-A867-DA3D-0588BDC29CA9}"/>
          </ac:spMkLst>
        </pc:spChg>
        <pc:spChg chg="mod">
          <ac:chgData name="Ananth Mohan" userId="0+ntHPCRoNBLvPdhBUzfljBEc8fje1ZhpS6eiRuEUeE=" providerId="None" clId="Web-{62CCE43B-33B5-4854-BFB6-C1CA31D4BD5B}" dt="2025-03-30T02:17:27.930" v="286" actId="1076"/>
          <ac:spMkLst>
            <pc:docMk/>
            <pc:sldMk cId="3303383250" sldId="265"/>
            <ac:spMk id="46" creationId="{D47DEC70-8116-7436-F5F7-2DDACEA5624C}"/>
          </ac:spMkLst>
        </pc:spChg>
        <pc:spChg chg="mod">
          <ac:chgData name="Ananth Mohan" userId="0+ntHPCRoNBLvPdhBUzfljBEc8fje1ZhpS6eiRuEUeE=" providerId="None" clId="Web-{62CCE43B-33B5-4854-BFB6-C1CA31D4BD5B}" dt="2025-03-30T02:17:51.212" v="292" actId="14100"/>
          <ac:spMkLst>
            <pc:docMk/>
            <pc:sldMk cId="3303383250" sldId="265"/>
            <ac:spMk id="47" creationId="{8CCC8E06-1EC3-FAF7-7117-0BD5600E2DC9}"/>
          </ac:spMkLst>
        </pc:spChg>
        <pc:spChg chg="mod ord">
          <ac:chgData name="Ananth Mohan" userId="0+ntHPCRoNBLvPdhBUzfljBEc8fje1ZhpS6eiRuEUeE=" providerId="None" clId="Web-{62CCE43B-33B5-4854-BFB6-C1CA31D4BD5B}" dt="2025-03-30T02:17:28.118" v="287" actId="1076"/>
          <ac:spMkLst>
            <pc:docMk/>
            <pc:sldMk cId="3303383250" sldId="265"/>
            <ac:spMk id="48" creationId="{1D35A63D-F4F9-32F4-BED1-44E60A65541D}"/>
          </ac:spMkLst>
        </pc:spChg>
        <pc:spChg chg="mod">
          <ac:chgData name="Ananth Mohan" userId="0+ntHPCRoNBLvPdhBUzfljBEc8fje1ZhpS6eiRuEUeE=" providerId="None" clId="Web-{62CCE43B-33B5-4854-BFB6-C1CA31D4BD5B}" dt="2025-03-30T02:17:45.196" v="291" actId="14100"/>
          <ac:spMkLst>
            <pc:docMk/>
            <pc:sldMk cId="3303383250" sldId="265"/>
            <ac:spMk id="49" creationId="{353F4F9A-204A-5A5B-8C9A-F58AFB5AC4A3}"/>
          </ac:spMkLst>
        </pc:spChg>
        <pc:spChg chg="mod ord">
          <ac:chgData name="Ananth Mohan" userId="0+ntHPCRoNBLvPdhBUzfljBEc8fje1ZhpS6eiRuEUeE=" providerId="None" clId="Web-{62CCE43B-33B5-4854-BFB6-C1CA31D4BD5B}" dt="2025-03-30T02:17:03.180" v="279"/>
          <ac:spMkLst>
            <pc:docMk/>
            <pc:sldMk cId="3303383250" sldId="265"/>
            <ac:spMk id="51" creationId="{0B30D199-DF0A-5DA4-CFEA-44E1B9882FD5}"/>
          </ac:spMkLst>
        </pc:spChg>
        <pc:spChg chg="mod">
          <ac:chgData name="Ananth Mohan" userId="0+ntHPCRoNBLvPdhBUzfljBEc8fje1ZhpS6eiRuEUeE=" providerId="None" clId="Web-{62CCE43B-33B5-4854-BFB6-C1CA31D4BD5B}" dt="2025-03-30T02:02:31.471" v="92" actId="1076"/>
          <ac:spMkLst>
            <pc:docMk/>
            <pc:sldMk cId="3303383250" sldId="265"/>
            <ac:spMk id="52" creationId="{EF37A66F-0919-208C-D890-B389B1286B5E}"/>
          </ac:spMkLst>
        </pc:spChg>
        <pc:spChg chg="mod">
          <ac:chgData name="Ananth Mohan" userId="0+ntHPCRoNBLvPdhBUzfljBEc8fje1ZhpS6eiRuEUeE=" providerId="None" clId="Web-{62CCE43B-33B5-4854-BFB6-C1CA31D4BD5B}" dt="2025-03-30T02:08:57.410" v="168" actId="1076"/>
          <ac:spMkLst>
            <pc:docMk/>
            <pc:sldMk cId="3303383250" sldId="265"/>
            <ac:spMk id="54" creationId="{AEAE1A7C-5154-F1EC-1465-EEA0E00F434D}"/>
          </ac:spMkLst>
        </pc:spChg>
        <pc:spChg chg="mod">
          <ac:chgData name="Ananth Mohan" userId="0+ntHPCRoNBLvPdhBUzfljBEc8fje1ZhpS6eiRuEUeE=" providerId="None" clId="Web-{62CCE43B-33B5-4854-BFB6-C1CA31D4BD5B}" dt="2025-03-30T02:08:57.597" v="169" actId="1076"/>
          <ac:spMkLst>
            <pc:docMk/>
            <pc:sldMk cId="3303383250" sldId="265"/>
            <ac:spMk id="57" creationId="{286D50C8-E11A-30B0-3139-6E1988FD303E}"/>
          </ac:spMkLst>
        </pc:spChg>
        <pc:spChg chg="mod">
          <ac:chgData name="Ananth Mohan" userId="0+ntHPCRoNBLvPdhBUzfljBEc8fje1ZhpS6eiRuEUeE=" providerId="None" clId="Web-{62CCE43B-33B5-4854-BFB6-C1CA31D4BD5B}" dt="2025-03-30T02:17:04.852" v="283"/>
          <ac:spMkLst>
            <pc:docMk/>
            <pc:sldMk cId="3303383250" sldId="265"/>
            <ac:spMk id="60" creationId="{776440A9-87FF-50D3-A3DE-444E1914ADFC}"/>
          </ac:spMkLst>
        </pc:spChg>
        <pc:spChg chg="mod">
          <ac:chgData name="Ananth Mohan" userId="0+ntHPCRoNBLvPdhBUzfljBEc8fje1ZhpS6eiRuEUeE=" providerId="None" clId="Web-{62CCE43B-33B5-4854-BFB6-C1CA31D4BD5B}" dt="2025-03-30T02:08:58.176" v="172" actId="1076"/>
          <ac:spMkLst>
            <pc:docMk/>
            <pc:sldMk cId="3303383250" sldId="265"/>
            <ac:spMk id="62" creationId="{CAF517B2-18A2-A5B0-4482-BBA258FB4D09}"/>
          </ac:spMkLst>
        </pc:spChg>
        <pc:spChg chg="mod">
          <ac:chgData name="Ananth Mohan" userId="0+ntHPCRoNBLvPdhBUzfljBEc8fje1ZhpS6eiRuEUeE=" providerId="None" clId="Web-{62CCE43B-33B5-4854-BFB6-C1CA31D4BD5B}" dt="2025-03-30T02:08:58.582" v="174" actId="1076"/>
          <ac:spMkLst>
            <pc:docMk/>
            <pc:sldMk cId="3303383250" sldId="265"/>
            <ac:spMk id="64" creationId="{092C1F10-0DD1-58FD-173E-30413636C950}"/>
          </ac:spMkLst>
        </pc:spChg>
        <pc:spChg chg="mod">
          <ac:chgData name="Ananth Mohan" userId="0+ntHPCRoNBLvPdhBUzfljBEc8fje1ZhpS6eiRuEUeE=" providerId="None" clId="Web-{62CCE43B-33B5-4854-BFB6-C1CA31D4BD5B}" dt="2025-03-30T02:08:06.644" v="143" actId="20577"/>
          <ac:spMkLst>
            <pc:docMk/>
            <pc:sldMk cId="3303383250" sldId="265"/>
            <ac:spMk id="66" creationId="{4BC6C3D6-0254-B34B-9207-D715051434DD}"/>
          </ac:spMkLst>
        </pc:spChg>
        <pc:spChg chg="mod">
          <ac:chgData name="Ananth Mohan" userId="0+ntHPCRoNBLvPdhBUzfljBEc8fje1ZhpS6eiRuEUeE=" providerId="None" clId="Web-{62CCE43B-33B5-4854-BFB6-C1CA31D4BD5B}" dt="2025-03-30T02:08:59.004" v="176" actId="1076"/>
          <ac:spMkLst>
            <pc:docMk/>
            <pc:sldMk cId="3303383250" sldId="265"/>
            <ac:spMk id="67" creationId="{A53FFF23-B387-EB25-BB24-A0FD6A479961}"/>
          </ac:spMkLst>
        </pc:spChg>
        <pc:spChg chg="mod">
          <ac:chgData name="Ananth Mohan" userId="0+ntHPCRoNBLvPdhBUzfljBEc8fje1ZhpS6eiRuEUeE=" providerId="None" clId="Web-{62CCE43B-33B5-4854-BFB6-C1CA31D4BD5B}" dt="2025-03-30T02:08:59.191" v="177" actId="1076"/>
          <ac:spMkLst>
            <pc:docMk/>
            <pc:sldMk cId="3303383250" sldId="265"/>
            <ac:spMk id="68" creationId="{AE9583AE-538B-3618-29B9-CDE4BE80C97C}"/>
          </ac:spMkLst>
        </pc:spChg>
        <pc:spChg chg="mod">
          <ac:chgData name="Ananth Mohan" userId="0+ntHPCRoNBLvPdhBUzfljBEc8fje1ZhpS6eiRuEUeE=" providerId="None" clId="Web-{62CCE43B-33B5-4854-BFB6-C1CA31D4BD5B}" dt="2025-03-30T02:16:43.132" v="273"/>
          <ac:spMkLst>
            <pc:docMk/>
            <pc:sldMk cId="3303383250" sldId="265"/>
            <ac:spMk id="69" creationId="{603A9031-A18D-9D2D-7053-23C0F9C95D9B}"/>
          </ac:spMkLst>
        </pc:spChg>
        <pc:spChg chg="mod">
          <ac:chgData name="Ananth Mohan" userId="0+ntHPCRoNBLvPdhBUzfljBEc8fje1ZhpS6eiRuEUeE=" providerId="None" clId="Web-{62CCE43B-33B5-4854-BFB6-C1CA31D4BD5B}" dt="2025-03-30T02:08:59.379" v="178" actId="1076"/>
          <ac:spMkLst>
            <pc:docMk/>
            <pc:sldMk cId="3303383250" sldId="265"/>
            <ac:spMk id="72" creationId="{9807FF68-40AD-6D7D-73D6-693F025B4E5B}"/>
          </ac:spMkLst>
        </pc:spChg>
        <pc:spChg chg="mod">
          <ac:chgData name="Ananth Mohan" userId="0+ntHPCRoNBLvPdhBUzfljBEc8fje1ZhpS6eiRuEUeE=" providerId="None" clId="Web-{62CCE43B-33B5-4854-BFB6-C1CA31D4BD5B}" dt="2025-03-30T02:09:12.816" v="181" actId="1076"/>
          <ac:spMkLst>
            <pc:docMk/>
            <pc:sldMk cId="3303383250" sldId="265"/>
            <ac:spMk id="73" creationId="{FF6079B3-6092-12BE-4D31-2ED0069C0622}"/>
          </ac:spMkLst>
        </pc:spChg>
        <pc:spChg chg="mod">
          <ac:chgData name="Ananth Mohan" userId="0+ntHPCRoNBLvPdhBUzfljBEc8fje1ZhpS6eiRuEUeE=" providerId="None" clId="Web-{62CCE43B-33B5-4854-BFB6-C1CA31D4BD5B}" dt="2025-03-30T02:09:13.004" v="182" actId="1076"/>
          <ac:spMkLst>
            <pc:docMk/>
            <pc:sldMk cId="3303383250" sldId="265"/>
            <ac:spMk id="74" creationId="{23773AD4-4BCC-4571-F935-1E598E73666F}"/>
          </ac:spMkLst>
        </pc:spChg>
        <pc:spChg chg="mod">
          <ac:chgData name="Ananth Mohan" userId="0+ntHPCRoNBLvPdhBUzfljBEc8fje1ZhpS6eiRuEUeE=" providerId="None" clId="Web-{62CCE43B-33B5-4854-BFB6-C1CA31D4BD5B}" dt="2025-03-30T02:17:03.180" v="280"/>
          <ac:spMkLst>
            <pc:docMk/>
            <pc:sldMk cId="3303383250" sldId="265"/>
            <ac:spMk id="75" creationId="{806B0FF3-6F00-13CA-925F-02A4AE7301D0}"/>
          </ac:spMkLst>
        </pc:spChg>
        <pc:spChg chg="mod">
          <ac:chgData name="Ananth Mohan" userId="0+ntHPCRoNBLvPdhBUzfljBEc8fje1ZhpS6eiRuEUeE=" providerId="None" clId="Web-{62CCE43B-33B5-4854-BFB6-C1CA31D4BD5B}" dt="2025-03-30T02:09:23.066" v="234" actId="1076"/>
          <ac:spMkLst>
            <pc:docMk/>
            <pc:sldMk cId="3303383250" sldId="265"/>
            <ac:spMk id="76" creationId="{BA7D9501-0A52-0F01-22B1-54F52851197A}"/>
          </ac:spMkLst>
        </pc:spChg>
        <pc:spChg chg="mod">
          <ac:chgData name="Ananth Mohan" userId="0+ntHPCRoNBLvPdhBUzfljBEc8fje1ZhpS6eiRuEUeE=" providerId="None" clId="Web-{62CCE43B-33B5-4854-BFB6-C1CA31D4BD5B}" dt="2025-03-30T02:31:16.956" v="337" actId="20577"/>
          <ac:spMkLst>
            <pc:docMk/>
            <pc:sldMk cId="3303383250" sldId="265"/>
            <ac:spMk id="77" creationId="{C213C033-83DF-1C28-DEC8-79E659151B90}"/>
          </ac:spMkLst>
        </pc:spChg>
        <pc:spChg chg="mod">
          <ac:chgData name="Ananth Mohan" userId="0+ntHPCRoNBLvPdhBUzfljBEc8fje1ZhpS6eiRuEUeE=" providerId="None" clId="Web-{62CCE43B-33B5-4854-BFB6-C1CA31D4BD5B}" dt="2025-03-30T02:09:17.676" v="206" actId="1076"/>
          <ac:spMkLst>
            <pc:docMk/>
            <pc:sldMk cId="3303383250" sldId="265"/>
            <ac:spMk id="79" creationId="{664AB0F7-7820-C0D7-2EF1-32E35A1E6441}"/>
          </ac:spMkLst>
        </pc:spChg>
        <pc:spChg chg="del mod">
          <ac:chgData name="Ananth Mohan" userId="0+ntHPCRoNBLvPdhBUzfljBEc8fje1ZhpS6eiRuEUeE=" providerId="None" clId="Web-{62CCE43B-33B5-4854-BFB6-C1CA31D4BD5B}" dt="2025-03-30T02:08:30.191" v="159"/>
          <ac:spMkLst>
            <pc:docMk/>
            <pc:sldMk cId="3303383250" sldId="265"/>
            <ac:spMk id="80" creationId="{2F590B5F-3567-1674-C378-34ACEA285985}"/>
          </ac:spMkLst>
        </pc:spChg>
        <pc:spChg chg="del">
          <ac:chgData name="Ananth Mohan" userId="0+ntHPCRoNBLvPdhBUzfljBEc8fje1ZhpS6eiRuEUeE=" providerId="None" clId="Web-{62CCE43B-33B5-4854-BFB6-C1CA31D4BD5B}" dt="2025-03-30T01:59:30.921" v="54"/>
          <ac:spMkLst>
            <pc:docMk/>
            <pc:sldMk cId="3303383250" sldId="265"/>
            <ac:spMk id="81" creationId="{91CB9CB1-3D12-7AC8-1F4E-2478BA297102}"/>
          </ac:spMkLst>
        </pc:spChg>
        <pc:spChg chg="mod">
          <ac:chgData name="Ananth Mohan" userId="0+ntHPCRoNBLvPdhBUzfljBEc8fje1ZhpS6eiRuEUeE=" providerId="None" clId="Web-{62CCE43B-33B5-4854-BFB6-C1CA31D4BD5B}" dt="2025-03-30T02:09:17.863" v="207" actId="1076"/>
          <ac:spMkLst>
            <pc:docMk/>
            <pc:sldMk cId="3303383250" sldId="265"/>
            <ac:spMk id="82" creationId="{64E47BDD-E81D-3BAF-D0D5-B8262D93D772}"/>
          </ac:spMkLst>
        </pc:spChg>
        <pc:spChg chg="mod">
          <ac:chgData name="Ananth Mohan" userId="0+ntHPCRoNBLvPdhBUzfljBEc8fje1ZhpS6eiRuEUeE=" providerId="None" clId="Web-{62CCE43B-33B5-4854-BFB6-C1CA31D4BD5B}" dt="2025-03-30T02:09:18.051" v="208" actId="1076"/>
          <ac:spMkLst>
            <pc:docMk/>
            <pc:sldMk cId="3303383250" sldId="265"/>
            <ac:spMk id="83" creationId="{EBCCB58A-65C5-D52C-CB01-1F41E2AD9C08}"/>
          </ac:spMkLst>
        </pc:spChg>
        <pc:spChg chg="mod">
          <ac:chgData name="Ananth Mohan" userId="0+ntHPCRoNBLvPdhBUzfljBEc8fje1ZhpS6eiRuEUeE=" providerId="None" clId="Web-{62CCE43B-33B5-4854-BFB6-C1CA31D4BD5B}" dt="2025-03-30T02:09:58.535" v="245" actId="1076"/>
          <ac:spMkLst>
            <pc:docMk/>
            <pc:sldMk cId="3303383250" sldId="265"/>
            <ac:spMk id="87" creationId="{39E9059A-0DAB-8F76-3719-1B102A2177C9}"/>
          </ac:spMkLst>
        </pc:spChg>
        <pc:spChg chg="del mod">
          <ac:chgData name="Ananth Mohan" userId="0+ntHPCRoNBLvPdhBUzfljBEc8fje1ZhpS6eiRuEUeE=" providerId="None" clId="Web-{62CCE43B-33B5-4854-BFB6-C1CA31D4BD5B}" dt="2025-03-30T02:09:47.316" v="239"/>
          <ac:spMkLst>
            <pc:docMk/>
            <pc:sldMk cId="3303383250" sldId="265"/>
            <ac:spMk id="93" creationId="{D5DD6848-B17A-D3BD-5EDE-F65C5170AB11}"/>
          </ac:spMkLst>
        </pc:spChg>
        <pc:spChg chg="mod">
          <ac:chgData name="Ananth Mohan" userId="0+ntHPCRoNBLvPdhBUzfljBEc8fje1ZhpS6eiRuEUeE=" providerId="None" clId="Web-{62CCE43B-33B5-4854-BFB6-C1CA31D4BD5B}" dt="2025-03-30T02:09:19.394" v="215" actId="1076"/>
          <ac:spMkLst>
            <pc:docMk/>
            <pc:sldMk cId="3303383250" sldId="265"/>
            <ac:spMk id="94" creationId="{E7070685-D68D-3B66-D8E8-74C908B5CA28}"/>
          </ac:spMkLst>
        </pc:spChg>
        <pc:spChg chg="mod">
          <ac:chgData name="Ananth Mohan" userId="0+ntHPCRoNBLvPdhBUzfljBEc8fje1ZhpS6eiRuEUeE=" providerId="None" clId="Web-{62CCE43B-33B5-4854-BFB6-C1CA31D4BD5B}" dt="2025-03-30T02:09:19.598" v="216" actId="1076"/>
          <ac:spMkLst>
            <pc:docMk/>
            <pc:sldMk cId="3303383250" sldId="265"/>
            <ac:spMk id="95" creationId="{35B65B60-BBEE-3B4F-7463-F329C346B8BF}"/>
          </ac:spMkLst>
        </pc:spChg>
        <pc:spChg chg="mod">
          <ac:chgData name="Ananth Mohan" userId="0+ntHPCRoNBLvPdhBUzfljBEc8fje1ZhpS6eiRuEUeE=" providerId="None" clId="Web-{62CCE43B-33B5-4854-BFB6-C1CA31D4BD5B}" dt="2025-03-30T02:09:19.785" v="217" actId="1076"/>
          <ac:spMkLst>
            <pc:docMk/>
            <pc:sldMk cId="3303383250" sldId="265"/>
            <ac:spMk id="97" creationId="{C8F17C0A-DB12-85F4-2DF2-A892353C6A40}"/>
          </ac:spMkLst>
        </pc:spChg>
        <pc:spChg chg="mod">
          <ac:chgData name="Ananth Mohan" userId="0+ntHPCRoNBLvPdhBUzfljBEc8fje1ZhpS6eiRuEUeE=" providerId="None" clId="Web-{62CCE43B-33B5-4854-BFB6-C1CA31D4BD5B}" dt="2025-03-30T02:09:17.473" v="205" actId="1076"/>
          <ac:spMkLst>
            <pc:docMk/>
            <pc:sldMk cId="3303383250" sldId="265"/>
            <ac:spMk id="100" creationId="{E87BD74B-20AB-5DEA-C74D-055E8B1DC87F}"/>
          </ac:spMkLst>
        </pc:spChg>
        <pc:spChg chg="mod">
          <ac:chgData name="Ananth Mohan" userId="0+ntHPCRoNBLvPdhBUzfljBEc8fje1ZhpS6eiRuEUeE=" providerId="None" clId="Web-{62CCE43B-33B5-4854-BFB6-C1CA31D4BD5B}" dt="2025-03-30T02:09:20.348" v="220" actId="1076"/>
          <ac:spMkLst>
            <pc:docMk/>
            <pc:sldMk cId="3303383250" sldId="265"/>
            <ac:spMk id="101" creationId="{81C2CD75-12EE-966E-6264-64ED6CB340F3}"/>
          </ac:spMkLst>
        </pc:spChg>
        <pc:spChg chg="mod">
          <ac:chgData name="Ananth Mohan" userId="0+ntHPCRoNBLvPdhBUzfljBEc8fje1ZhpS6eiRuEUeE=" providerId="None" clId="Web-{62CCE43B-33B5-4854-BFB6-C1CA31D4BD5B}" dt="2025-03-30T02:09:20.551" v="221" actId="1076"/>
          <ac:spMkLst>
            <pc:docMk/>
            <pc:sldMk cId="3303383250" sldId="265"/>
            <ac:spMk id="102" creationId="{1E48B78B-A35D-4741-93A3-C348F7C706F1}"/>
          </ac:spMkLst>
        </pc:spChg>
        <pc:spChg chg="mod">
          <ac:chgData name="Ananth Mohan" userId="0+ntHPCRoNBLvPdhBUzfljBEc8fje1ZhpS6eiRuEUeE=" providerId="None" clId="Web-{62CCE43B-33B5-4854-BFB6-C1CA31D4BD5B}" dt="2025-03-30T02:09:23.269" v="235" actId="1076"/>
          <ac:spMkLst>
            <pc:docMk/>
            <pc:sldMk cId="3303383250" sldId="265"/>
            <ac:spMk id="103" creationId="{45B6AA70-A6A0-4D3A-B553-FFCE4BE5266A}"/>
          </ac:spMkLst>
        </pc:spChg>
        <pc:spChg chg="mod">
          <ac:chgData name="Ananth Mohan" userId="0+ntHPCRoNBLvPdhBUzfljBEc8fje1ZhpS6eiRuEUeE=" providerId="None" clId="Web-{62CCE43B-33B5-4854-BFB6-C1CA31D4BD5B}" dt="2025-03-30T02:18:17.524" v="297" actId="20577"/>
          <ac:spMkLst>
            <pc:docMk/>
            <pc:sldMk cId="3303383250" sldId="265"/>
            <ac:spMk id="105" creationId="{0007B696-4C2F-9E22-5840-DAAFCF52E1AB}"/>
          </ac:spMkLst>
        </pc:spChg>
        <pc:spChg chg="mod">
          <ac:chgData name="Ananth Mohan" userId="0+ntHPCRoNBLvPdhBUzfljBEc8fje1ZhpS6eiRuEUeE=" providerId="None" clId="Web-{62CCE43B-33B5-4854-BFB6-C1CA31D4BD5B}" dt="2025-03-30T02:31:20.519" v="338" actId="20577"/>
          <ac:spMkLst>
            <pc:docMk/>
            <pc:sldMk cId="3303383250" sldId="265"/>
            <ac:spMk id="106" creationId="{7355FA1E-67D7-3AF3-D14B-924F4BAEF7D2}"/>
          </ac:spMkLst>
        </pc:spChg>
        <pc:spChg chg="mod">
          <ac:chgData name="Ananth Mohan" userId="0+ntHPCRoNBLvPdhBUzfljBEc8fje1ZhpS6eiRuEUeE=" providerId="None" clId="Web-{62CCE43B-33B5-4854-BFB6-C1CA31D4BD5B}" dt="2025-03-30T02:16:43.116" v="272"/>
          <ac:spMkLst>
            <pc:docMk/>
            <pc:sldMk cId="3303383250" sldId="265"/>
            <ac:spMk id="107" creationId="{C70B0DD6-236C-86BF-81BF-8FD065B68AA0}"/>
          </ac:spMkLst>
        </pc:spChg>
        <pc:spChg chg="mod">
          <ac:chgData name="Ananth Mohan" userId="0+ntHPCRoNBLvPdhBUzfljBEc8fje1ZhpS6eiRuEUeE=" providerId="None" clId="Web-{62CCE43B-33B5-4854-BFB6-C1CA31D4BD5B}" dt="2025-03-30T02:09:13.207" v="183" actId="1076"/>
          <ac:spMkLst>
            <pc:docMk/>
            <pc:sldMk cId="3303383250" sldId="265"/>
            <ac:spMk id="108" creationId="{5F9CD371-BC54-E9F1-0C34-23CCCCC86E9B}"/>
          </ac:spMkLst>
        </pc:spChg>
        <pc:spChg chg="mod">
          <ac:chgData name="Ananth Mohan" userId="0+ntHPCRoNBLvPdhBUzfljBEc8fje1ZhpS6eiRuEUeE=" providerId="None" clId="Web-{62CCE43B-33B5-4854-BFB6-C1CA31D4BD5B}" dt="2025-03-30T02:09:13.410" v="184" actId="1076"/>
          <ac:spMkLst>
            <pc:docMk/>
            <pc:sldMk cId="3303383250" sldId="265"/>
            <ac:spMk id="110" creationId="{F3D54D72-FD66-3004-DCF0-9F5B7F0C18B1}"/>
          </ac:spMkLst>
        </pc:spChg>
        <pc:spChg chg="mod">
          <ac:chgData name="Ananth Mohan" userId="0+ntHPCRoNBLvPdhBUzfljBEc8fje1ZhpS6eiRuEUeE=" providerId="None" clId="Web-{62CCE43B-33B5-4854-BFB6-C1CA31D4BD5B}" dt="2025-03-30T02:09:15.394" v="194" actId="1076"/>
          <ac:spMkLst>
            <pc:docMk/>
            <pc:sldMk cId="3303383250" sldId="265"/>
            <ac:spMk id="111" creationId="{E33F8D31-1F00-A21D-DFCF-C82792BD371A}"/>
          </ac:spMkLst>
        </pc:spChg>
        <pc:spChg chg="mod">
          <ac:chgData name="Ananth Mohan" userId="0+ntHPCRoNBLvPdhBUzfljBEc8fje1ZhpS6eiRuEUeE=" providerId="None" clId="Web-{62CCE43B-33B5-4854-BFB6-C1CA31D4BD5B}" dt="2025-03-30T02:09:13.988" v="187" actId="1076"/>
          <ac:spMkLst>
            <pc:docMk/>
            <pc:sldMk cId="3303383250" sldId="265"/>
            <ac:spMk id="115" creationId="{32A40A3D-F439-D03C-B23C-8B8B5E88E26D}"/>
          </ac:spMkLst>
        </pc:spChg>
        <pc:spChg chg="mod">
          <ac:chgData name="Ananth Mohan" userId="0+ntHPCRoNBLvPdhBUzfljBEc8fje1ZhpS6eiRuEUeE=" providerId="None" clId="Web-{62CCE43B-33B5-4854-BFB6-C1CA31D4BD5B}" dt="2025-03-30T02:09:14.191" v="188" actId="1076"/>
          <ac:spMkLst>
            <pc:docMk/>
            <pc:sldMk cId="3303383250" sldId="265"/>
            <ac:spMk id="116" creationId="{8CE29497-ED4E-CE2F-3098-2FA6BDCB4B76}"/>
          </ac:spMkLst>
        </pc:spChg>
        <pc:spChg chg="mod">
          <ac:chgData name="Ananth Mohan" userId="0+ntHPCRoNBLvPdhBUzfljBEc8fje1ZhpS6eiRuEUeE=" providerId="None" clId="Web-{62CCE43B-33B5-4854-BFB6-C1CA31D4BD5B}" dt="2025-03-30T02:09:14.379" v="189" actId="1076"/>
          <ac:spMkLst>
            <pc:docMk/>
            <pc:sldMk cId="3303383250" sldId="265"/>
            <ac:spMk id="117" creationId="{DF75B8ED-1FDC-77C8-0378-E1DD56DADB48}"/>
          </ac:spMkLst>
        </pc:spChg>
        <pc:spChg chg="mod">
          <ac:chgData name="Ananth Mohan" userId="0+ntHPCRoNBLvPdhBUzfljBEc8fje1ZhpS6eiRuEUeE=" providerId="None" clId="Web-{62CCE43B-33B5-4854-BFB6-C1CA31D4BD5B}" dt="2025-03-30T02:09:14.582" v="190" actId="1076"/>
          <ac:spMkLst>
            <pc:docMk/>
            <pc:sldMk cId="3303383250" sldId="265"/>
            <ac:spMk id="118" creationId="{C21416C2-1691-8A77-F9A8-A581F86E3E46}"/>
          </ac:spMkLst>
        </pc:spChg>
        <pc:spChg chg="mod">
          <ac:chgData name="Ananth Mohan" userId="0+ntHPCRoNBLvPdhBUzfljBEc8fje1ZhpS6eiRuEUeE=" providerId="None" clId="Web-{62CCE43B-33B5-4854-BFB6-C1CA31D4BD5B}" dt="2025-03-30T02:09:14.785" v="191" actId="1076"/>
          <ac:spMkLst>
            <pc:docMk/>
            <pc:sldMk cId="3303383250" sldId="265"/>
            <ac:spMk id="120" creationId="{82F43608-A3CA-728D-9D6C-132775FBD31B}"/>
          </ac:spMkLst>
        </pc:spChg>
        <pc:spChg chg="mod">
          <ac:chgData name="Ananth Mohan" userId="0+ntHPCRoNBLvPdhBUzfljBEc8fje1ZhpS6eiRuEUeE=" providerId="None" clId="Web-{62CCE43B-33B5-4854-BFB6-C1CA31D4BD5B}" dt="2025-03-30T02:09:15.004" v="192" actId="1076"/>
          <ac:spMkLst>
            <pc:docMk/>
            <pc:sldMk cId="3303383250" sldId="265"/>
            <ac:spMk id="121" creationId="{6F45470B-02D5-C984-EF5F-E88CC049177E}"/>
          </ac:spMkLst>
        </pc:spChg>
        <pc:spChg chg="mod">
          <ac:chgData name="Ananth Mohan" userId="0+ntHPCRoNBLvPdhBUzfljBEc8fje1ZhpS6eiRuEUeE=" providerId="None" clId="Web-{62CCE43B-33B5-4854-BFB6-C1CA31D4BD5B}" dt="2025-03-30T02:20:43.869" v="312" actId="1076"/>
          <ac:spMkLst>
            <pc:docMk/>
            <pc:sldMk cId="3303383250" sldId="265"/>
            <ac:spMk id="127" creationId="{7D889B63-D649-DC6B-0AF0-5CFE9B76FDCF}"/>
          </ac:spMkLst>
        </pc:spChg>
        <pc:spChg chg="mod">
          <ac:chgData name="Ananth Mohan" userId="0+ntHPCRoNBLvPdhBUzfljBEc8fje1ZhpS6eiRuEUeE=" providerId="None" clId="Web-{62CCE43B-33B5-4854-BFB6-C1CA31D4BD5B}" dt="2025-03-30T02:09:15.957" v="197" actId="1076"/>
          <ac:spMkLst>
            <pc:docMk/>
            <pc:sldMk cId="3303383250" sldId="265"/>
            <ac:spMk id="129" creationId="{D531C02E-2D87-AC29-359A-D5D769672148}"/>
          </ac:spMkLst>
        </pc:spChg>
        <pc:spChg chg="mod">
          <ac:chgData name="Ananth Mohan" userId="0+ntHPCRoNBLvPdhBUzfljBEc8fje1ZhpS6eiRuEUeE=" providerId="None" clId="Web-{62CCE43B-33B5-4854-BFB6-C1CA31D4BD5B}" dt="2025-03-30T02:09:16.144" v="198" actId="1076"/>
          <ac:spMkLst>
            <pc:docMk/>
            <pc:sldMk cId="3303383250" sldId="265"/>
            <ac:spMk id="130" creationId="{9B29B55A-76F5-AC0E-AEB6-A6BEB61C5662}"/>
          </ac:spMkLst>
        </pc:spChg>
        <pc:spChg chg="mod">
          <ac:chgData name="Ananth Mohan" userId="0+ntHPCRoNBLvPdhBUzfljBEc8fje1ZhpS6eiRuEUeE=" providerId="None" clId="Web-{62CCE43B-33B5-4854-BFB6-C1CA31D4BD5B}" dt="2025-03-30T02:09:16.332" v="199" actId="1076"/>
          <ac:spMkLst>
            <pc:docMk/>
            <pc:sldMk cId="3303383250" sldId="265"/>
            <ac:spMk id="131" creationId="{73E8966A-D96D-1A49-9313-52FC6BA21863}"/>
          </ac:spMkLst>
        </pc:spChg>
        <pc:spChg chg="mod">
          <ac:chgData name="Ananth Mohan" userId="0+ntHPCRoNBLvPdhBUzfljBEc8fje1ZhpS6eiRuEUeE=" providerId="None" clId="Web-{62CCE43B-33B5-4854-BFB6-C1CA31D4BD5B}" dt="2025-03-30T02:09:16.519" v="200" actId="1076"/>
          <ac:spMkLst>
            <pc:docMk/>
            <pc:sldMk cId="3303383250" sldId="265"/>
            <ac:spMk id="132" creationId="{DEF8657F-1D10-58DE-ACE4-71EA40DFC4BD}"/>
          </ac:spMkLst>
        </pc:spChg>
        <pc:spChg chg="mod">
          <ac:chgData name="Ananth Mohan" userId="0+ntHPCRoNBLvPdhBUzfljBEc8fje1ZhpS6eiRuEUeE=" providerId="None" clId="Web-{62CCE43B-33B5-4854-BFB6-C1CA31D4BD5B}" dt="2025-03-30T02:09:16.707" v="201" actId="1076"/>
          <ac:spMkLst>
            <pc:docMk/>
            <pc:sldMk cId="3303383250" sldId="265"/>
            <ac:spMk id="133" creationId="{F7F34F64-9191-936B-30E3-77E4ED8D5E47}"/>
          </ac:spMkLst>
        </pc:spChg>
        <pc:spChg chg="mod">
          <ac:chgData name="Ananth Mohan" userId="0+ntHPCRoNBLvPdhBUzfljBEc8fje1ZhpS6eiRuEUeE=" providerId="None" clId="Web-{62CCE43B-33B5-4854-BFB6-C1CA31D4BD5B}" dt="2025-03-30T02:09:16.894" v="202" actId="1076"/>
          <ac:spMkLst>
            <pc:docMk/>
            <pc:sldMk cId="3303383250" sldId="265"/>
            <ac:spMk id="134" creationId="{61C4EE9F-F4FF-E8FB-1A62-BEA2C00FC39C}"/>
          </ac:spMkLst>
        </pc:spChg>
        <pc:spChg chg="mod ord">
          <ac:chgData name="Ananth Mohan" userId="0+ntHPCRoNBLvPdhBUzfljBEc8fje1ZhpS6eiRuEUeE=" providerId="None" clId="Web-{62CCE43B-33B5-4854-BFB6-C1CA31D4BD5B}" dt="2025-03-30T02:16:39.585" v="269"/>
          <ac:spMkLst>
            <pc:docMk/>
            <pc:sldMk cId="3303383250" sldId="265"/>
            <ac:spMk id="163" creationId="{23AD3AA8-2BB6-D8F3-A592-B31D1A807DBC}"/>
          </ac:spMkLst>
        </pc:spChg>
        <pc:spChg chg="mod">
          <ac:chgData name="Ananth Mohan" userId="0+ntHPCRoNBLvPdhBUzfljBEc8fje1ZhpS6eiRuEUeE=" providerId="None" clId="Web-{62CCE43B-33B5-4854-BFB6-C1CA31D4BD5B}" dt="2025-03-30T02:09:21.926" v="228" actId="1076"/>
          <ac:spMkLst>
            <pc:docMk/>
            <pc:sldMk cId="3303383250" sldId="265"/>
            <ac:spMk id="164" creationId="{11EAAD9E-49DB-D9D4-CE5F-976A66DF620C}"/>
          </ac:spMkLst>
        </pc:spChg>
        <pc:spChg chg="mod">
          <ac:chgData name="Ananth Mohan" userId="0+ntHPCRoNBLvPdhBUzfljBEc8fje1ZhpS6eiRuEUeE=" providerId="None" clId="Web-{62CCE43B-33B5-4854-BFB6-C1CA31D4BD5B}" dt="2025-03-30T02:09:22.129" v="229" actId="1076"/>
          <ac:spMkLst>
            <pc:docMk/>
            <pc:sldMk cId="3303383250" sldId="265"/>
            <ac:spMk id="165" creationId="{313C4ECF-31F7-CCD7-10EC-FA2EABB77A5A}"/>
          </ac:spMkLst>
        </pc:spChg>
        <pc:spChg chg="mod">
          <ac:chgData name="Ananth Mohan" userId="0+ntHPCRoNBLvPdhBUzfljBEc8fje1ZhpS6eiRuEUeE=" providerId="None" clId="Web-{62CCE43B-33B5-4854-BFB6-C1CA31D4BD5B}" dt="2025-03-30T02:09:22.316" v="230" actId="1076"/>
          <ac:spMkLst>
            <pc:docMk/>
            <pc:sldMk cId="3303383250" sldId="265"/>
            <ac:spMk id="167" creationId="{F605D904-C4D3-EE58-A2BD-B3CDD68F499C}"/>
          </ac:spMkLst>
        </pc:spChg>
        <pc:grpChg chg="mod">
          <ac:chgData name="Ananth Mohan" userId="0+ntHPCRoNBLvPdhBUzfljBEc8fje1ZhpS6eiRuEUeE=" providerId="None" clId="Web-{62CCE43B-33B5-4854-BFB6-C1CA31D4BD5B}" dt="2025-03-30T02:09:58.316" v="244" actId="1076"/>
          <ac:grpSpMkLst>
            <pc:docMk/>
            <pc:sldMk cId="3303383250" sldId="265"/>
            <ac:grpSpMk id="92" creationId="{B88DE94B-1F57-4A44-8AA4-B63946D5C3D8}"/>
          </ac:grpSpMkLst>
        </pc:grpChg>
        <pc:graphicFrameChg chg="mod">
          <ac:chgData name="Ananth Mohan" userId="0+ntHPCRoNBLvPdhBUzfljBEc8fje1ZhpS6eiRuEUeE=" providerId="None" clId="Web-{62CCE43B-33B5-4854-BFB6-C1CA31D4BD5B}" dt="2025-03-30T02:17:35.102" v="290" actId="1076"/>
          <ac:graphicFrameMkLst>
            <pc:docMk/>
            <pc:sldMk cId="3303383250" sldId="265"/>
            <ac:graphicFrameMk id="22" creationId="{2AFC51B7-E64D-E8F9-E5AF-0FAD5DE313F9}"/>
          </ac:graphicFrameMkLst>
        </pc:graphicFrameChg>
        <pc:graphicFrameChg chg="mod">
          <ac:chgData name="Ananth Mohan" userId="0+ntHPCRoNBLvPdhBUzfljBEc8fje1ZhpS6eiRuEUeE=" providerId="None" clId="Web-{62CCE43B-33B5-4854-BFB6-C1CA31D4BD5B}" dt="2025-03-30T02:09:17.285" v="204" actId="1076"/>
          <ac:graphicFrameMkLst>
            <pc:docMk/>
            <pc:sldMk cId="3303383250" sldId="265"/>
            <ac:graphicFrameMk id="24" creationId="{684E41A2-30E9-C668-2DA3-3F8DCAF58854}"/>
          </ac:graphicFrameMkLst>
        </pc:graphicFrameChg>
        <pc:graphicFrameChg chg="mod">
          <ac:chgData name="Ananth Mohan" userId="0+ntHPCRoNBLvPdhBUzfljBEc8fje1ZhpS6eiRuEUeE=" providerId="None" clId="Web-{62CCE43B-33B5-4854-BFB6-C1CA31D4BD5B}" dt="2025-03-30T02:09:22.691" v="232" actId="1076"/>
          <ac:graphicFrameMkLst>
            <pc:docMk/>
            <pc:sldMk cId="3303383250" sldId="265"/>
            <ac:graphicFrameMk id="169" creationId="{92665334-6A04-F620-733B-10B304B9D8E6}"/>
          </ac:graphicFrameMkLst>
        </pc:graphicFrameChg>
        <pc:picChg chg="mod">
          <ac:chgData name="Ananth Mohan" userId="0+ntHPCRoNBLvPdhBUzfljBEc8fje1ZhpS6eiRuEUeE=" providerId="None" clId="Web-{62CCE43B-33B5-4854-BFB6-C1CA31D4BD5B}" dt="2025-03-30T02:02:10.346" v="77" actId="1076"/>
          <ac:picMkLst>
            <pc:docMk/>
            <pc:sldMk cId="3303383250" sldId="265"/>
            <ac:picMk id="3" creationId="{68A90817-9D83-A6B6-D4FA-5C9EDE038735}"/>
          </ac:picMkLst>
        </pc:picChg>
        <pc:picChg chg="mod">
          <ac:chgData name="Ananth Mohan" userId="0+ntHPCRoNBLvPdhBUzfljBEc8fje1ZhpS6eiRuEUeE=" providerId="None" clId="Web-{62CCE43B-33B5-4854-BFB6-C1CA31D4BD5B}" dt="2025-03-30T02:02:09.612" v="73" actId="1076"/>
          <ac:picMkLst>
            <pc:docMk/>
            <pc:sldMk cId="3303383250" sldId="265"/>
            <ac:picMk id="6" creationId="{429D241D-00A4-D931-4100-2A691B520861}"/>
          </ac:picMkLst>
        </pc:picChg>
        <pc:picChg chg="del">
          <ac:chgData name="Ananth Mohan" userId="0+ntHPCRoNBLvPdhBUzfljBEc8fje1ZhpS6eiRuEUeE=" providerId="None" clId="Web-{62CCE43B-33B5-4854-BFB6-C1CA31D4BD5B}" dt="2025-03-30T01:59:20.124" v="53"/>
          <ac:picMkLst>
            <pc:docMk/>
            <pc:sldMk cId="3303383250" sldId="265"/>
            <ac:picMk id="14" creationId="{FC2C5F3E-B617-558A-D671-CE0D79E3558E}"/>
          </ac:picMkLst>
        </pc:picChg>
        <pc:picChg chg="mod">
          <ac:chgData name="Ananth Mohan" userId="0+ntHPCRoNBLvPdhBUzfljBEc8fje1ZhpS6eiRuEUeE=" providerId="None" clId="Web-{62CCE43B-33B5-4854-BFB6-C1CA31D4BD5B}" dt="2025-03-30T02:02:29.143" v="80" actId="1076"/>
          <ac:picMkLst>
            <pc:docMk/>
            <pc:sldMk cId="3303383250" sldId="265"/>
            <ac:picMk id="16" creationId="{D58D6980-856E-7D78-BA25-FB6D9687194F}"/>
          </ac:picMkLst>
        </pc:picChg>
        <pc:picChg chg="mod">
          <ac:chgData name="Ananth Mohan" userId="0+ntHPCRoNBLvPdhBUzfljBEc8fje1ZhpS6eiRuEUeE=" providerId="None" clId="Web-{62CCE43B-33B5-4854-BFB6-C1CA31D4BD5B}" dt="2025-03-30T02:02:09.799" v="74" actId="1076"/>
          <ac:picMkLst>
            <pc:docMk/>
            <pc:sldMk cId="3303383250" sldId="265"/>
            <ac:picMk id="19" creationId="{73BE328D-0DD5-1C51-50E2-279F4CEF8C2E}"/>
          </ac:picMkLst>
        </pc:picChg>
        <pc:picChg chg="mod">
          <ac:chgData name="Ananth Mohan" userId="0+ntHPCRoNBLvPdhBUzfljBEc8fje1ZhpS6eiRuEUeE=" providerId="None" clId="Web-{62CCE43B-33B5-4854-BFB6-C1CA31D4BD5B}" dt="2025-03-30T02:02:09.987" v="75" actId="1076"/>
          <ac:picMkLst>
            <pc:docMk/>
            <pc:sldMk cId="3303383250" sldId="265"/>
            <ac:picMk id="20" creationId="{EFDEF58B-2F14-653C-EBBD-E3D5CEDFA33B}"/>
          </ac:picMkLst>
        </pc:picChg>
        <pc:picChg chg="mod">
          <ac:chgData name="Ananth Mohan" userId="0+ntHPCRoNBLvPdhBUzfljBEc8fje1ZhpS6eiRuEUeE=" providerId="None" clId="Web-{62CCE43B-33B5-4854-BFB6-C1CA31D4BD5B}" dt="2025-03-30T02:02:10.174" v="76" actId="1076"/>
          <ac:picMkLst>
            <pc:docMk/>
            <pc:sldMk cId="3303383250" sldId="265"/>
            <ac:picMk id="21" creationId="{8040DEF8-8246-B483-12D7-5D85A68BF228}"/>
          </ac:picMkLst>
        </pc:picChg>
        <pc:picChg chg="mod">
          <ac:chgData name="Ananth Mohan" userId="0+ntHPCRoNBLvPdhBUzfljBEc8fje1ZhpS6eiRuEUeE=" providerId="None" clId="Web-{62CCE43B-33B5-4854-BFB6-C1CA31D4BD5B}" dt="2025-03-30T02:02:29.533" v="82" actId="1076"/>
          <ac:picMkLst>
            <pc:docMk/>
            <pc:sldMk cId="3303383250" sldId="265"/>
            <ac:picMk id="28" creationId="{E3CB94C0-45DB-BC0A-2B8C-B7A7E87C4CAF}"/>
          </ac:picMkLst>
        </pc:picChg>
        <pc:picChg chg="mod">
          <ac:chgData name="Ananth Mohan" userId="0+ntHPCRoNBLvPdhBUzfljBEc8fje1ZhpS6eiRuEUeE=" providerId="None" clId="Web-{62CCE43B-33B5-4854-BFB6-C1CA31D4BD5B}" dt="2025-03-30T02:02:29.346" v="81" actId="1076"/>
          <ac:picMkLst>
            <pc:docMk/>
            <pc:sldMk cId="3303383250" sldId="265"/>
            <ac:picMk id="30" creationId="{947A582F-27C0-AA2E-8FAA-A52539962E2B}"/>
          </ac:picMkLst>
        </pc:picChg>
        <pc:picChg chg="mod">
          <ac:chgData name="Ananth Mohan" userId="0+ntHPCRoNBLvPdhBUzfljBEc8fje1ZhpS6eiRuEUeE=" providerId="None" clId="Web-{62CCE43B-33B5-4854-BFB6-C1CA31D4BD5B}" dt="2025-03-30T02:02:30.518" v="87" actId="1076"/>
          <ac:picMkLst>
            <pc:docMk/>
            <pc:sldMk cId="3303383250" sldId="265"/>
            <ac:picMk id="34" creationId="{8A098F87-E18A-0334-CFBB-16B653052B79}"/>
          </ac:picMkLst>
        </pc:picChg>
        <pc:picChg chg="mod">
          <ac:chgData name="Ananth Mohan" userId="0+ntHPCRoNBLvPdhBUzfljBEc8fje1ZhpS6eiRuEUeE=" providerId="None" clId="Web-{62CCE43B-33B5-4854-BFB6-C1CA31D4BD5B}" dt="2025-03-30T02:02:30.143" v="85" actId="1076"/>
          <ac:picMkLst>
            <pc:docMk/>
            <pc:sldMk cId="3303383250" sldId="265"/>
            <ac:picMk id="37" creationId="{F0A87DEA-1EA4-CCF6-6FB4-DCBBA786942A}"/>
          </ac:picMkLst>
        </pc:picChg>
        <pc:picChg chg="ord">
          <ac:chgData name="Ananth Mohan" userId="0+ntHPCRoNBLvPdhBUzfljBEc8fje1ZhpS6eiRuEUeE=" providerId="None" clId="Web-{62CCE43B-33B5-4854-BFB6-C1CA31D4BD5B}" dt="2025-03-30T02:16:36.522" v="263"/>
          <ac:picMkLst>
            <pc:docMk/>
            <pc:sldMk cId="3303383250" sldId="265"/>
            <ac:picMk id="70" creationId="{0D701C2D-42F7-CA91-1DC5-14905A01E223}"/>
          </ac:picMkLst>
        </pc:picChg>
        <pc:picChg chg="ord">
          <ac:chgData name="Ananth Mohan" userId="0+ntHPCRoNBLvPdhBUzfljBEc8fje1ZhpS6eiRuEUeE=" providerId="None" clId="Web-{62CCE43B-33B5-4854-BFB6-C1CA31D4BD5B}" dt="2025-03-30T02:16:33.350" v="257"/>
          <ac:picMkLst>
            <pc:docMk/>
            <pc:sldMk cId="3303383250" sldId="265"/>
            <ac:picMk id="78" creationId="{5FC911FE-A147-31FA-18FC-A40FEB31C2EF}"/>
          </ac:picMkLst>
        </pc:picChg>
        <pc:picChg chg="mod">
          <ac:chgData name="Ananth Mohan" userId="0+ntHPCRoNBLvPdhBUzfljBEc8fje1ZhpS6eiRuEUeE=" providerId="None" clId="Web-{62CCE43B-33B5-4854-BFB6-C1CA31D4BD5B}" dt="2025-03-30T02:20:31.415" v="311" actId="1076"/>
          <ac:picMkLst>
            <pc:docMk/>
            <pc:sldMk cId="3303383250" sldId="265"/>
            <ac:picMk id="125" creationId="{AAAFA3EA-2B91-6D8C-7410-6F4258FF05BC}"/>
          </ac:picMkLst>
        </pc:picChg>
        <pc:cxnChg chg="mod">
          <ac:chgData name="Ananth Mohan" userId="0+ntHPCRoNBLvPdhBUzfljBEc8fje1ZhpS6eiRuEUeE=" providerId="None" clId="Web-{62CCE43B-33B5-4854-BFB6-C1CA31D4BD5B}" dt="2025-03-30T02:09:21.535" v="226" actId="1076"/>
          <ac:cxnSpMkLst>
            <pc:docMk/>
            <pc:sldMk cId="3303383250" sldId="265"/>
            <ac:cxnSpMk id="26" creationId="{7F556461-EDFF-B369-3A9B-87B43EF1D585}"/>
          </ac:cxnSpMkLst>
        </pc:cxnChg>
        <pc:cxnChg chg="mod">
          <ac:chgData name="Ananth Mohan" userId="0+ntHPCRoNBLvPdhBUzfljBEc8fje1ZhpS6eiRuEUeE=" providerId="None" clId="Web-{62CCE43B-33B5-4854-BFB6-C1CA31D4BD5B}" dt="2025-03-30T02:09:21.316" v="225" actId="1076"/>
          <ac:cxnSpMkLst>
            <pc:docMk/>
            <pc:sldMk cId="3303383250" sldId="265"/>
            <ac:cxnSpMk id="39" creationId="{80967C93-478D-6363-52CB-3784980F9E03}"/>
          </ac:cxnSpMkLst>
        </pc:cxnChg>
        <pc:cxnChg chg="ord">
          <ac:chgData name="Ananth Mohan" userId="0+ntHPCRoNBLvPdhBUzfljBEc8fje1ZhpS6eiRuEUeE=" providerId="None" clId="Web-{62CCE43B-33B5-4854-BFB6-C1CA31D4BD5B}" dt="2025-03-30T02:16:38.741" v="267"/>
          <ac:cxnSpMkLst>
            <pc:docMk/>
            <pc:sldMk cId="3303383250" sldId="265"/>
            <ac:cxnSpMk id="55" creationId="{BB0009B9-BAE8-CA5A-1932-424CE181B437}"/>
          </ac:cxnSpMkLst>
        </pc:cxnChg>
        <pc:cxnChg chg="ord">
          <ac:chgData name="Ananth Mohan" userId="0+ntHPCRoNBLvPdhBUzfljBEc8fje1ZhpS6eiRuEUeE=" providerId="None" clId="Web-{62CCE43B-33B5-4854-BFB6-C1CA31D4BD5B}" dt="2025-03-30T02:16:39.085" v="268"/>
          <ac:cxnSpMkLst>
            <pc:docMk/>
            <pc:sldMk cId="3303383250" sldId="265"/>
            <ac:cxnSpMk id="56" creationId="{4E2F651D-ED6F-8468-4BBE-3AB56883ACCA}"/>
          </ac:cxnSpMkLst>
        </pc:cxnChg>
        <pc:cxnChg chg="mod">
          <ac:chgData name="Ananth Mohan" userId="0+ntHPCRoNBLvPdhBUzfljBEc8fje1ZhpS6eiRuEUeE=" providerId="None" clId="Web-{62CCE43B-33B5-4854-BFB6-C1CA31D4BD5B}" dt="2025-03-30T02:08:57.785" v="170" actId="1076"/>
          <ac:cxnSpMkLst>
            <pc:docMk/>
            <pc:sldMk cId="3303383250" sldId="265"/>
            <ac:cxnSpMk id="58" creationId="{AF0C487A-C008-CFFC-D2BC-98C3ABAE12FE}"/>
          </ac:cxnSpMkLst>
        </pc:cxnChg>
        <pc:cxnChg chg="mod">
          <ac:chgData name="Ananth Mohan" userId="0+ntHPCRoNBLvPdhBUzfljBEc8fje1ZhpS6eiRuEUeE=" providerId="None" clId="Web-{62CCE43B-33B5-4854-BFB6-C1CA31D4BD5B}" dt="2025-03-30T02:08:57.988" v="171" actId="1076"/>
          <ac:cxnSpMkLst>
            <pc:docMk/>
            <pc:sldMk cId="3303383250" sldId="265"/>
            <ac:cxnSpMk id="61" creationId="{CDE57450-D9ED-E3DA-4609-F677572FFC73}"/>
          </ac:cxnSpMkLst>
        </pc:cxnChg>
        <pc:cxnChg chg="mod">
          <ac:chgData name="Ananth Mohan" userId="0+ntHPCRoNBLvPdhBUzfljBEc8fje1ZhpS6eiRuEUeE=" providerId="None" clId="Web-{62CCE43B-33B5-4854-BFB6-C1CA31D4BD5B}" dt="2025-03-30T02:08:58.379" v="173" actId="1076"/>
          <ac:cxnSpMkLst>
            <pc:docMk/>
            <pc:sldMk cId="3303383250" sldId="265"/>
            <ac:cxnSpMk id="63" creationId="{DDA03DF5-D3AE-01A2-843A-50D6A470A8E0}"/>
          </ac:cxnSpMkLst>
        </pc:cxnChg>
        <pc:cxnChg chg="mod">
          <ac:chgData name="Ananth Mohan" userId="0+ntHPCRoNBLvPdhBUzfljBEc8fje1ZhpS6eiRuEUeE=" providerId="None" clId="Web-{62CCE43B-33B5-4854-BFB6-C1CA31D4BD5B}" dt="2025-03-30T02:08:58.785" v="175" actId="1076"/>
          <ac:cxnSpMkLst>
            <pc:docMk/>
            <pc:sldMk cId="3303383250" sldId="265"/>
            <ac:cxnSpMk id="65" creationId="{31BEB150-1190-7A7D-FB92-766DE84C3818}"/>
          </ac:cxnSpMkLst>
        </pc:cxnChg>
        <pc:cxnChg chg="mod">
          <ac:chgData name="Ananth Mohan" userId="0+ntHPCRoNBLvPdhBUzfljBEc8fje1ZhpS6eiRuEUeE=" providerId="None" clId="Web-{62CCE43B-33B5-4854-BFB6-C1CA31D4BD5B}" dt="2025-03-30T02:09:18.238" v="209" actId="1076"/>
          <ac:cxnSpMkLst>
            <pc:docMk/>
            <pc:sldMk cId="3303383250" sldId="265"/>
            <ac:cxnSpMk id="84" creationId="{0FB24FEB-1EF0-0DA6-9DC4-B63D3266794B}"/>
          </ac:cxnSpMkLst>
        </pc:cxnChg>
        <pc:cxnChg chg="mod">
          <ac:chgData name="Ananth Mohan" userId="0+ntHPCRoNBLvPdhBUzfljBEc8fje1ZhpS6eiRuEUeE=" providerId="None" clId="Web-{62CCE43B-33B5-4854-BFB6-C1CA31D4BD5B}" dt="2025-03-30T02:09:18.426" v="210" actId="1076"/>
          <ac:cxnSpMkLst>
            <pc:docMk/>
            <pc:sldMk cId="3303383250" sldId="265"/>
            <ac:cxnSpMk id="86" creationId="{F2770812-FA7A-80BA-5AD3-70C7FBA19536}"/>
          </ac:cxnSpMkLst>
        </pc:cxnChg>
        <pc:cxnChg chg="mod">
          <ac:chgData name="Ananth Mohan" userId="0+ntHPCRoNBLvPdhBUzfljBEc8fje1ZhpS6eiRuEUeE=" providerId="None" clId="Web-{62CCE43B-33B5-4854-BFB6-C1CA31D4BD5B}" dt="2025-03-30T02:09:18.629" v="211" actId="1076"/>
          <ac:cxnSpMkLst>
            <pc:docMk/>
            <pc:sldMk cId="3303383250" sldId="265"/>
            <ac:cxnSpMk id="88" creationId="{CD117D27-B144-C9AB-FBF8-C11CFC98B40C}"/>
          </ac:cxnSpMkLst>
        </pc:cxnChg>
        <pc:cxnChg chg="mod">
          <ac:chgData name="Ananth Mohan" userId="0+ntHPCRoNBLvPdhBUzfljBEc8fje1ZhpS6eiRuEUeE=" providerId="None" clId="Web-{62CCE43B-33B5-4854-BFB6-C1CA31D4BD5B}" dt="2025-03-30T02:09:18.816" v="212" actId="1076"/>
          <ac:cxnSpMkLst>
            <pc:docMk/>
            <pc:sldMk cId="3303383250" sldId="265"/>
            <ac:cxnSpMk id="89" creationId="{05B8C6A8-B254-143D-5E03-BF185B79C58F}"/>
          </ac:cxnSpMkLst>
        </pc:cxnChg>
        <pc:cxnChg chg="mod">
          <ac:chgData name="Ananth Mohan" userId="0+ntHPCRoNBLvPdhBUzfljBEc8fje1ZhpS6eiRuEUeE=" providerId="None" clId="Web-{62CCE43B-33B5-4854-BFB6-C1CA31D4BD5B}" dt="2025-03-30T02:09:19.004" v="213" actId="1076"/>
          <ac:cxnSpMkLst>
            <pc:docMk/>
            <pc:sldMk cId="3303383250" sldId="265"/>
            <ac:cxnSpMk id="90" creationId="{434AE978-F52C-C56E-2743-870F0B0F5050}"/>
          </ac:cxnSpMkLst>
        </pc:cxnChg>
        <pc:cxnChg chg="mod">
          <ac:chgData name="Ananth Mohan" userId="0+ntHPCRoNBLvPdhBUzfljBEc8fje1ZhpS6eiRuEUeE=" providerId="None" clId="Web-{62CCE43B-33B5-4854-BFB6-C1CA31D4BD5B}" dt="2025-03-30T02:09:19.207" v="214" actId="1076"/>
          <ac:cxnSpMkLst>
            <pc:docMk/>
            <pc:sldMk cId="3303383250" sldId="265"/>
            <ac:cxnSpMk id="91" creationId="{5CFD39BE-D052-FCF6-F806-68C097709421}"/>
          </ac:cxnSpMkLst>
        </pc:cxnChg>
        <pc:cxnChg chg="mod">
          <ac:chgData name="Ananth Mohan" userId="0+ntHPCRoNBLvPdhBUzfljBEc8fje1ZhpS6eiRuEUeE=" providerId="None" clId="Web-{62CCE43B-33B5-4854-BFB6-C1CA31D4BD5B}" dt="2025-03-30T02:09:19.973" v="218" actId="1076"/>
          <ac:cxnSpMkLst>
            <pc:docMk/>
            <pc:sldMk cId="3303383250" sldId="265"/>
            <ac:cxnSpMk id="98" creationId="{407F23B3-54B7-AAE7-227A-0E3B1FD9965D}"/>
          </ac:cxnSpMkLst>
        </pc:cxnChg>
        <pc:cxnChg chg="mod">
          <ac:chgData name="Ananth Mohan" userId="0+ntHPCRoNBLvPdhBUzfljBEc8fje1ZhpS6eiRuEUeE=" providerId="None" clId="Web-{62CCE43B-33B5-4854-BFB6-C1CA31D4BD5B}" dt="2025-03-30T02:09:20.176" v="219" actId="1076"/>
          <ac:cxnSpMkLst>
            <pc:docMk/>
            <pc:sldMk cId="3303383250" sldId="265"/>
            <ac:cxnSpMk id="99" creationId="{F3045FEE-FC73-967F-222D-E919202A4C7A}"/>
          </ac:cxnSpMkLst>
        </pc:cxnChg>
        <pc:cxnChg chg="mod">
          <ac:chgData name="Ananth Mohan" userId="0+ntHPCRoNBLvPdhBUzfljBEc8fje1ZhpS6eiRuEUeE=" providerId="None" clId="Web-{62CCE43B-33B5-4854-BFB6-C1CA31D4BD5B}" dt="2025-03-30T02:09:13.613" v="185" actId="1076"/>
          <ac:cxnSpMkLst>
            <pc:docMk/>
            <pc:sldMk cId="3303383250" sldId="265"/>
            <ac:cxnSpMk id="112" creationId="{2178A5C8-E324-F625-38D1-8C9FB8ADF2A5}"/>
          </ac:cxnSpMkLst>
        </pc:cxnChg>
        <pc:cxnChg chg="mod">
          <ac:chgData name="Ananth Mohan" userId="0+ntHPCRoNBLvPdhBUzfljBEc8fje1ZhpS6eiRuEUeE=" providerId="None" clId="Web-{62CCE43B-33B5-4854-BFB6-C1CA31D4BD5B}" dt="2025-03-30T02:09:13.801" v="186" actId="1076"/>
          <ac:cxnSpMkLst>
            <pc:docMk/>
            <pc:sldMk cId="3303383250" sldId="265"/>
            <ac:cxnSpMk id="114" creationId="{1CEFB074-97B0-8330-A0BC-FC17761BF0A7}"/>
          </ac:cxnSpMkLst>
        </pc:cxnChg>
        <pc:cxnChg chg="mod">
          <ac:chgData name="Ananth Mohan" userId="0+ntHPCRoNBLvPdhBUzfljBEc8fje1ZhpS6eiRuEUeE=" providerId="None" clId="Web-{62CCE43B-33B5-4854-BFB6-C1CA31D4BD5B}" dt="2025-03-30T02:09:15.191" v="193" actId="1076"/>
          <ac:cxnSpMkLst>
            <pc:docMk/>
            <pc:sldMk cId="3303383250" sldId="265"/>
            <ac:cxnSpMk id="122" creationId="{A43F274B-1BBF-5AF7-AF43-4922E1D2D12D}"/>
          </ac:cxnSpMkLst>
        </pc:cxnChg>
        <pc:cxnChg chg="mod">
          <ac:chgData name="Ananth Mohan" userId="0+ntHPCRoNBLvPdhBUzfljBEc8fje1ZhpS6eiRuEUeE=" providerId="None" clId="Web-{62CCE43B-33B5-4854-BFB6-C1CA31D4BD5B}" dt="2025-03-30T02:09:15.582" v="195" actId="1076"/>
          <ac:cxnSpMkLst>
            <pc:docMk/>
            <pc:sldMk cId="3303383250" sldId="265"/>
            <ac:cxnSpMk id="123" creationId="{A226F3B4-3E5B-9EB5-A697-653155E749D2}"/>
          </ac:cxnSpMkLst>
        </pc:cxnChg>
        <pc:cxnChg chg="mod">
          <ac:chgData name="Ananth Mohan" userId="0+ntHPCRoNBLvPdhBUzfljBEc8fje1ZhpS6eiRuEUeE=" providerId="None" clId="Web-{62CCE43B-33B5-4854-BFB6-C1CA31D4BD5B}" dt="2025-03-30T02:09:15.769" v="196" actId="1076"/>
          <ac:cxnSpMkLst>
            <pc:docMk/>
            <pc:sldMk cId="3303383250" sldId="265"/>
            <ac:cxnSpMk id="124" creationId="{02967B38-32C4-4EE6-F8FA-AD45A41A0987}"/>
          </ac:cxnSpMkLst>
        </pc:cxnChg>
        <pc:cxnChg chg="mod">
          <ac:chgData name="Ananth Mohan" userId="0+ntHPCRoNBLvPdhBUzfljBEc8fje1ZhpS6eiRuEUeE=" providerId="None" clId="Web-{62CCE43B-33B5-4854-BFB6-C1CA31D4BD5B}" dt="2025-03-30T02:08:59.754" v="180" actId="1076"/>
          <ac:cxnSpMkLst>
            <pc:docMk/>
            <pc:sldMk cId="3303383250" sldId="265"/>
            <ac:cxnSpMk id="136" creationId="{56C7BEE3-1B9D-F4AD-C7D7-2B1AA1F76288}"/>
          </ac:cxnSpMkLst>
        </pc:cxnChg>
        <pc:cxnChg chg="mod">
          <ac:chgData name="Ananth Mohan" userId="0+ntHPCRoNBLvPdhBUzfljBEc8fje1ZhpS6eiRuEUeE=" providerId="None" clId="Web-{62CCE43B-33B5-4854-BFB6-C1CA31D4BD5B}" dt="2025-03-30T02:09:22.504" v="231" actId="1076"/>
          <ac:cxnSpMkLst>
            <pc:docMk/>
            <pc:sldMk cId="3303383250" sldId="265"/>
            <ac:cxnSpMk id="168" creationId="{BC5F3E84-319F-41F0-1FDE-7E99C154BA2D}"/>
          </ac:cxnSpMkLst>
        </pc:cxnChg>
        <pc:extLst>
          <p:ext xmlns:p="http://schemas.openxmlformats.org/presentationml/2006/main" uri="{D6D511B9-2390-475A-947B-AFAB55BFBCF1}">
            <pc226:cmChg xmlns:pc226="http://schemas.microsoft.com/office/powerpoint/2022/06/main/command" chg="mod">
              <pc226:chgData name="Ananth Mohan" userId="0+ntHPCRoNBLvPdhBUzfljBEc8fje1ZhpS6eiRuEUeE=" providerId="None" clId="Web-{62CCE43B-33B5-4854-BFB6-C1CA31D4BD5B}" dt="2025-03-30T02:02:44.252" v="98" actId="20577"/>
              <pc2:cmMkLst xmlns:pc2="http://schemas.microsoft.com/office/powerpoint/2019/9/main/command">
                <pc:docMk/>
                <pc:sldMk cId="3303383250" sldId="265"/>
                <pc2:cmMk id="{AF250953-AE73-4459-8F9F-9911B2021AFA}"/>
              </pc2:cmMkLst>
            </pc226:cmChg>
          </p:ext>
        </pc:extLst>
      </pc:sldChg>
    </pc:docChg>
  </pc:docChgLst>
  <pc:docChgLst>
    <pc:chgData name="Hsueh-Ning Chao" userId="I32u27yO7tdajtqyP71sKDiQulIz6ic0z1xl0wdhUYk=" providerId="None" clId="Web-{CEC127B9-D0AF-48E8-A40E-97173B8F6EA2}"/>
    <pc:docChg chg="modSld">
      <pc:chgData name="Hsueh-Ning Chao" userId="I32u27yO7tdajtqyP71sKDiQulIz6ic0z1xl0wdhUYk=" providerId="None" clId="Web-{CEC127B9-D0AF-48E8-A40E-97173B8F6EA2}" dt="2025-03-12T01:39:08.856" v="0" actId="1076"/>
      <pc:docMkLst>
        <pc:docMk/>
      </pc:docMkLst>
      <pc:sldChg chg="modSp">
        <pc:chgData name="Hsueh-Ning Chao" userId="I32u27yO7tdajtqyP71sKDiQulIz6ic0z1xl0wdhUYk=" providerId="None" clId="Web-{CEC127B9-D0AF-48E8-A40E-97173B8F6EA2}" dt="2025-03-12T01:39:08.856" v="0" actId="1076"/>
        <pc:sldMkLst>
          <pc:docMk/>
          <pc:sldMk cId="810637578" sldId="263"/>
        </pc:sldMkLst>
        <pc:cxnChg chg="mod">
          <ac:chgData name="Hsueh-Ning Chao" userId="I32u27yO7tdajtqyP71sKDiQulIz6ic0z1xl0wdhUYk=" providerId="None" clId="Web-{CEC127B9-D0AF-48E8-A40E-97173B8F6EA2}" dt="2025-03-12T01:39:08.856" v="0" actId="1076"/>
          <ac:cxnSpMkLst>
            <pc:docMk/>
            <pc:sldMk cId="810637578" sldId="263"/>
            <ac:cxnSpMk id="55" creationId="{1724909C-7D2F-3B28-6FF4-B3076A59A6A7}"/>
          </ac:cxnSpMkLst>
        </pc:cxnChg>
      </pc:sldChg>
    </pc:docChg>
  </pc:docChgLst>
  <pc:docChgLst>
    <pc:chgData name="Yijun Wang" userId="Of/0Pj+qBr5fypY8jeq4N4QA/9LywGn1V9GniuUBQzk=" providerId="None" clId="Web-{BDA2AB48-0E96-45D1-AEBC-AEE2E9E4C79A}"/>
    <pc:docChg chg="modSld">
      <pc:chgData name="Yijun Wang" userId="Of/0Pj+qBr5fypY8jeq4N4QA/9LywGn1V9GniuUBQzk=" providerId="None" clId="Web-{BDA2AB48-0E96-45D1-AEBC-AEE2E9E4C79A}" dt="2025-03-06T20:01:24.217" v="234" actId="20577"/>
      <pc:docMkLst>
        <pc:docMk/>
      </pc:docMkLst>
      <pc:sldChg chg="addSp delSp modSp">
        <pc:chgData name="Yijun Wang" userId="Of/0Pj+qBr5fypY8jeq4N4QA/9LywGn1V9GniuUBQzk=" providerId="None" clId="Web-{BDA2AB48-0E96-45D1-AEBC-AEE2E9E4C79A}" dt="2025-03-06T20:01:24.217" v="234" actId="20577"/>
        <pc:sldMkLst>
          <pc:docMk/>
          <pc:sldMk cId="810637578" sldId="263"/>
        </pc:sldMkLst>
        <pc:spChg chg="mod">
          <ac:chgData name="Yijun Wang" userId="Of/0Pj+qBr5fypY8jeq4N4QA/9LywGn1V9GniuUBQzk=" providerId="None" clId="Web-{BDA2AB48-0E96-45D1-AEBC-AEE2E9E4C79A}" dt="2025-03-06T19:52:17.586" v="93" actId="1076"/>
          <ac:spMkLst>
            <pc:docMk/>
            <pc:sldMk cId="810637578" sldId="263"/>
            <ac:spMk id="27" creationId="{B5DBB932-36CC-D676-C85C-33A719023472}"/>
          </ac:spMkLst>
        </pc:spChg>
        <pc:spChg chg="del">
          <ac:chgData name="Yijun Wang" userId="Of/0Pj+qBr5fypY8jeq4N4QA/9LywGn1V9GniuUBQzk=" providerId="None" clId="Web-{BDA2AB48-0E96-45D1-AEBC-AEE2E9E4C79A}" dt="2025-03-06T19:46:06.134" v="29"/>
          <ac:spMkLst>
            <pc:docMk/>
            <pc:sldMk cId="810637578" sldId="263"/>
            <ac:spMk id="35" creationId="{A945577B-A3D3-067C-857A-3B0452233081}"/>
          </ac:spMkLst>
        </pc:spChg>
        <pc:spChg chg="del">
          <ac:chgData name="Yijun Wang" userId="Of/0Pj+qBr5fypY8jeq4N4QA/9LywGn1V9GniuUBQzk=" providerId="None" clId="Web-{BDA2AB48-0E96-45D1-AEBC-AEE2E9E4C79A}" dt="2025-03-06T19:50:28.738" v="67"/>
          <ac:spMkLst>
            <pc:docMk/>
            <pc:sldMk cId="810637578" sldId="263"/>
            <ac:spMk id="50" creationId="{99FB33BE-8E4B-8E63-3450-37BF1C6D683B}"/>
          </ac:spMkLst>
        </pc:spChg>
        <pc:spChg chg="mod">
          <ac:chgData name="Yijun Wang" userId="Of/0Pj+qBr5fypY8jeq4N4QA/9LywGn1V9GniuUBQzk=" providerId="None" clId="Web-{BDA2AB48-0E96-45D1-AEBC-AEE2E9E4C79A}" dt="2025-03-06T20:01:24.217" v="234" actId="20577"/>
          <ac:spMkLst>
            <pc:docMk/>
            <pc:sldMk cId="810637578" sldId="263"/>
            <ac:spMk id="97" creationId="{9E55A492-F3A5-C73F-234E-3EF9E05E5138}"/>
          </ac:spMkLst>
        </pc:spChg>
        <pc:spChg chg="mod">
          <ac:chgData name="Yijun Wang" userId="Of/0Pj+qBr5fypY8jeq4N4QA/9LywGn1V9GniuUBQzk=" providerId="None" clId="Web-{BDA2AB48-0E96-45D1-AEBC-AEE2E9E4C79A}" dt="2025-03-06T19:51:25.037" v="77" actId="1076"/>
          <ac:spMkLst>
            <pc:docMk/>
            <pc:sldMk cId="810637578" sldId="263"/>
            <ac:spMk id="100" creationId="{62081406-995D-5EA6-5F35-85B29C5A8BBB}"/>
          </ac:spMkLst>
        </pc:spChg>
        <pc:spChg chg="mod">
          <ac:chgData name="Yijun Wang" userId="Of/0Pj+qBr5fypY8jeq4N4QA/9LywGn1V9GniuUBQzk=" providerId="None" clId="Web-{BDA2AB48-0E96-45D1-AEBC-AEE2E9E4C79A}" dt="2025-03-06T19:53:01.041" v="101"/>
          <ac:spMkLst>
            <pc:docMk/>
            <pc:sldMk cId="810637578" sldId="263"/>
            <ac:spMk id="115" creationId="{B9659D5E-9329-8C4D-19AA-2F3B70CA831A}"/>
          </ac:spMkLst>
        </pc:spChg>
        <pc:spChg chg="add del">
          <ac:chgData name="Yijun Wang" userId="Of/0Pj+qBr5fypY8jeq4N4QA/9LywGn1V9GniuUBQzk=" providerId="None" clId="Web-{BDA2AB48-0E96-45D1-AEBC-AEE2E9E4C79A}" dt="2025-03-06T19:43:34.019" v="1"/>
          <ac:spMkLst>
            <pc:docMk/>
            <pc:sldMk cId="810637578" sldId="263"/>
            <ac:spMk id="160" creationId="{52D58176-8F7D-5197-8522-75C2CC92AF91}"/>
          </ac:spMkLst>
        </pc:spChg>
        <pc:spChg chg="add del mod">
          <ac:chgData name="Yijun Wang" userId="Of/0Pj+qBr5fypY8jeq4N4QA/9LywGn1V9GniuUBQzk=" providerId="None" clId="Web-{BDA2AB48-0E96-45D1-AEBC-AEE2E9E4C79A}" dt="2025-03-06T19:43:56.973" v="4"/>
          <ac:spMkLst>
            <pc:docMk/>
            <pc:sldMk cId="810637578" sldId="263"/>
            <ac:spMk id="161" creationId="{0C4BAB1B-5836-1534-1FC0-72A76760F987}"/>
          </ac:spMkLst>
        </pc:spChg>
        <pc:spChg chg="add del mod">
          <ac:chgData name="Yijun Wang" userId="Of/0Pj+qBr5fypY8jeq4N4QA/9LywGn1V9GniuUBQzk=" providerId="None" clId="Web-{BDA2AB48-0E96-45D1-AEBC-AEE2E9E4C79A}" dt="2025-03-06T19:44:29.365" v="9"/>
          <ac:spMkLst>
            <pc:docMk/>
            <pc:sldMk cId="810637578" sldId="263"/>
            <ac:spMk id="162" creationId="{B11DAA85-DE07-FC51-03C8-70B01D298750}"/>
          </ac:spMkLst>
        </pc:spChg>
        <pc:spChg chg="add mod">
          <ac:chgData name="Yijun Wang" userId="Of/0Pj+qBr5fypY8jeq4N4QA/9LywGn1V9GniuUBQzk=" providerId="None" clId="Web-{BDA2AB48-0E96-45D1-AEBC-AEE2E9E4C79A}" dt="2025-03-06T19:45:48.915" v="24" actId="1076"/>
          <ac:spMkLst>
            <pc:docMk/>
            <pc:sldMk cId="810637578" sldId="263"/>
            <ac:spMk id="163" creationId="{89E3A2E5-64DA-8C84-6BF6-57AA66EA5FFD}"/>
          </ac:spMkLst>
        </pc:spChg>
        <pc:spChg chg="add mod">
          <ac:chgData name="Yijun Wang" userId="Of/0Pj+qBr5fypY8jeq4N4QA/9LywGn1V9GniuUBQzk=" providerId="None" clId="Web-{BDA2AB48-0E96-45D1-AEBC-AEE2E9E4C79A}" dt="2025-03-06T19:52:52.588" v="98"/>
          <ac:spMkLst>
            <pc:docMk/>
            <pc:sldMk cId="810637578" sldId="263"/>
            <ac:spMk id="164" creationId="{D5027268-7BA0-2914-80E5-EFA12C070FAA}"/>
          </ac:spMkLst>
        </pc:spChg>
        <pc:spChg chg="add mod">
          <ac:chgData name="Yijun Wang" userId="Of/0Pj+qBr5fypY8jeq4N4QA/9LywGn1V9GniuUBQzk=" providerId="None" clId="Web-{BDA2AB48-0E96-45D1-AEBC-AEE2E9E4C79A}" dt="2025-03-06T19:52:54.135" v="99"/>
          <ac:spMkLst>
            <pc:docMk/>
            <pc:sldMk cId="810637578" sldId="263"/>
            <ac:spMk id="165" creationId="{31E6C983-B6FD-0DE9-A969-DE3BED07D95B}"/>
          </ac:spMkLst>
        </pc:spChg>
        <pc:spChg chg="add del mod">
          <ac:chgData name="Yijun Wang" userId="Of/0Pj+qBr5fypY8jeq4N4QA/9LywGn1V9GniuUBQzk=" providerId="None" clId="Web-{BDA2AB48-0E96-45D1-AEBC-AEE2E9E4C79A}" dt="2025-03-06T19:52:32.212" v="97"/>
          <ac:spMkLst>
            <pc:docMk/>
            <pc:sldMk cId="810637578" sldId="263"/>
            <ac:spMk id="166" creationId="{63919F58-F1FA-BF01-A22C-B318FFA6FB8F}"/>
          </ac:spMkLst>
        </pc:spChg>
        <pc:spChg chg="add mod">
          <ac:chgData name="Yijun Wang" userId="Of/0Pj+qBr5fypY8jeq4N4QA/9LywGn1V9GniuUBQzk=" providerId="None" clId="Web-{BDA2AB48-0E96-45D1-AEBC-AEE2E9E4C79A}" dt="2025-03-06T19:52:08.586" v="92" actId="1076"/>
          <ac:spMkLst>
            <pc:docMk/>
            <pc:sldMk cId="810637578" sldId="263"/>
            <ac:spMk id="167" creationId="{23FF0565-68F2-DB31-A2FA-C5157DD6C805}"/>
          </ac:spMkLst>
        </pc:spChg>
        <pc:graphicFrameChg chg="del mod modGraphic">
          <ac:chgData name="Yijun Wang" userId="Of/0Pj+qBr5fypY8jeq4N4QA/9LywGn1V9GniuUBQzk=" providerId="None" clId="Web-{BDA2AB48-0E96-45D1-AEBC-AEE2E9E4C79A}" dt="2025-03-06T19:57:42.068" v="141"/>
          <ac:graphicFrameMkLst>
            <pc:docMk/>
            <pc:sldMk cId="810637578" sldId="263"/>
            <ac:graphicFrameMk id="59" creationId="{6C68D193-3D06-18DE-91FA-EC00A48BD7EC}"/>
          </ac:graphicFrameMkLst>
        </pc:graphicFrameChg>
        <pc:graphicFrameChg chg="add mod modGraphic">
          <ac:chgData name="Yijun Wang" userId="Of/0Pj+qBr5fypY8jeq4N4QA/9LywGn1V9GniuUBQzk=" providerId="None" clId="Web-{BDA2AB48-0E96-45D1-AEBC-AEE2E9E4C79A}" dt="2025-03-06T19:59:28.447" v="232"/>
          <ac:graphicFrameMkLst>
            <pc:docMk/>
            <pc:sldMk cId="810637578" sldId="263"/>
            <ac:graphicFrameMk id="169" creationId="{B168E9E6-D886-54D2-1CE9-C59A966370A2}"/>
          </ac:graphicFrameMkLst>
        </pc:graphicFrameChg>
        <pc:picChg chg="mod">
          <ac:chgData name="Yijun Wang" userId="Of/0Pj+qBr5fypY8jeq4N4QA/9LywGn1V9GniuUBQzk=" providerId="None" clId="Web-{BDA2AB48-0E96-45D1-AEBC-AEE2E9E4C79A}" dt="2025-03-06T19:55:34.532" v="123"/>
          <ac:picMkLst>
            <pc:docMk/>
            <pc:sldMk cId="810637578" sldId="263"/>
            <ac:picMk id="139" creationId="{6166D332-7B39-7162-75E9-D849EFBFBBA0}"/>
          </ac:picMkLst>
        </pc:picChg>
        <pc:cxnChg chg="add mod">
          <ac:chgData name="Yijun Wang" userId="Of/0Pj+qBr5fypY8jeq4N4QA/9LywGn1V9GniuUBQzk=" providerId="None" clId="Web-{BDA2AB48-0E96-45D1-AEBC-AEE2E9E4C79A}" dt="2025-03-06T19:51:56.695" v="85" actId="1076"/>
          <ac:cxnSpMkLst>
            <pc:docMk/>
            <pc:sldMk cId="810637578" sldId="263"/>
            <ac:cxnSpMk id="168" creationId="{65D5AF2F-4977-F93B-53E2-1AAA76B48AA7}"/>
          </ac:cxnSpMkLst>
        </pc:cxnChg>
      </pc:sldChg>
    </pc:docChg>
  </pc:docChgLst>
  <pc:docChgLst>
    <pc:chgData name="Hsueh-Ning Chao" userId="I32u27yO7tdajtqyP71sKDiQulIz6ic0z1xl0wdhUYk=" providerId="None" clId="Web-{AC0E72A3-6158-4AC3-83F3-463849F2F608}"/>
    <pc:docChg chg="modSld">
      <pc:chgData name="Hsueh-Ning Chao" userId="I32u27yO7tdajtqyP71sKDiQulIz6ic0z1xl0wdhUYk=" providerId="None" clId="Web-{AC0E72A3-6158-4AC3-83F3-463849F2F608}" dt="2025-03-06T19:52:36.269" v="813" actId="20577"/>
      <pc:docMkLst>
        <pc:docMk/>
      </pc:docMkLst>
      <pc:sldChg chg="addSp delSp modSp modCm">
        <pc:chgData name="Hsueh-Ning Chao" userId="I32u27yO7tdajtqyP71sKDiQulIz6ic0z1xl0wdhUYk=" providerId="None" clId="Web-{AC0E72A3-6158-4AC3-83F3-463849F2F608}" dt="2025-03-06T19:52:36.269" v="813" actId="20577"/>
        <pc:sldMkLst>
          <pc:docMk/>
          <pc:sldMk cId="810637578" sldId="263"/>
        </pc:sldMkLst>
        <pc:spChg chg="add del">
          <ac:chgData name="Hsueh-Ning Chao" userId="I32u27yO7tdajtqyP71sKDiQulIz6ic0z1xl0wdhUYk=" providerId="None" clId="Web-{AC0E72A3-6158-4AC3-83F3-463849F2F608}" dt="2025-03-06T17:48:38.939" v="1"/>
          <ac:spMkLst>
            <pc:docMk/>
            <pc:sldMk cId="810637578" sldId="263"/>
            <ac:spMk id="8" creationId="{E75BBE40-82F7-4FFE-6F5B-0913CDF86ECF}"/>
          </ac:spMkLst>
        </pc:spChg>
        <pc:spChg chg="mod">
          <ac:chgData name="Hsueh-Ning Chao" userId="I32u27yO7tdajtqyP71sKDiQulIz6ic0z1xl0wdhUYk=" providerId="None" clId="Web-{AC0E72A3-6158-4AC3-83F3-463849F2F608}" dt="2025-03-06T19:18:45.015" v="722" actId="1076"/>
          <ac:spMkLst>
            <pc:docMk/>
            <pc:sldMk cId="810637578" sldId="263"/>
            <ac:spMk id="9" creationId="{19AB2F9E-4684-0522-4915-E83244C7D050}"/>
          </ac:spMkLst>
        </pc:spChg>
        <pc:spChg chg="mod">
          <ac:chgData name="Hsueh-Ning Chao" userId="I32u27yO7tdajtqyP71sKDiQulIz6ic0z1xl0wdhUYk=" providerId="None" clId="Web-{AC0E72A3-6158-4AC3-83F3-463849F2F608}" dt="2025-03-06T19:24:25.336" v="734" actId="1076"/>
          <ac:spMkLst>
            <pc:docMk/>
            <pc:sldMk cId="810637578" sldId="263"/>
            <ac:spMk id="10" creationId="{E12A2CB5-31B3-B8A1-AC34-E6539E91DD51}"/>
          </ac:spMkLst>
        </pc:spChg>
        <pc:spChg chg="mod">
          <ac:chgData name="Hsueh-Ning Chao" userId="I32u27yO7tdajtqyP71sKDiQulIz6ic0z1xl0wdhUYk=" providerId="None" clId="Web-{AC0E72A3-6158-4AC3-83F3-463849F2F608}" dt="2025-03-06T19:19:58.345" v="729" actId="1076"/>
          <ac:spMkLst>
            <pc:docMk/>
            <pc:sldMk cId="810637578" sldId="263"/>
            <ac:spMk id="12" creationId="{C4D7C6B9-9708-E4DB-DA17-00BBDBB95B30}"/>
          </ac:spMkLst>
        </pc:spChg>
        <pc:spChg chg="mod">
          <ac:chgData name="Hsueh-Ning Chao" userId="I32u27yO7tdajtqyP71sKDiQulIz6ic0z1xl0wdhUYk=" providerId="None" clId="Web-{AC0E72A3-6158-4AC3-83F3-463849F2F608}" dt="2025-03-06T19:24:31.305" v="735" actId="1076"/>
          <ac:spMkLst>
            <pc:docMk/>
            <pc:sldMk cId="810637578" sldId="263"/>
            <ac:spMk id="13" creationId="{C60A1247-0AC1-E763-5FF5-906DD09F96E5}"/>
          </ac:spMkLst>
        </pc:spChg>
        <pc:spChg chg="add mod">
          <ac:chgData name="Hsueh-Ning Chao" userId="I32u27yO7tdajtqyP71sKDiQulIz6ic0z1xl0wdhUYk=" providerId="None" clId="Web-{AC0E72A3-6158-4AC3-83F3-463849F2F608}" dt="2025-03-06T19:17:13.748" v="694" actId="1076"/>
          <ac:spMkLst>
            <pc:docMk/>
            <pc:sldMk cId="810637578" sldId="263"/>
            <ac:spMk id="17" creationId="{C9B4D23D-7D0A-5D8B-63F7-3F63C3CE303F}"/>
          </ac:spMkLst>
        </pc:spChg>
        <pc:spChg chg="mod">
          <ac:chgData name="Hsueh-Ning Chao" userId="I32u27yO7tdajtqyP71sKDiQulIz6ic0z1xl0wdhUYk=" providerId="None" clId="Web-{AC0E72A3-6158-4AC3-83F3-463849F2F608}" dt="2025-03-06T19:19:44.517" v="723" actId="1076"/>
          <ac:spMkLst>
            <pc:docMk/>
            <pc:sldMk cId="810637578" sldId="263"/>
            <ac:spMk id="18" creationId="{1169DDE9-B93C-CBBF-324B-24B2DEF9B9CB}"/>
          </ac:spMkLst>
        </pc:spChg>
        <pc:spChg chg="add del">
          <ac:chgData name="Hsueh-Ning Chao" userId="I32u27yO7tdajtqyP71sKDiQulIz6ic0z1xl0wdhUYk=" providerId="None" clId="Web-{AC0E72A3-6158-4AC3-83F3-463849F2F608}" dt="2025-03-06T17:52:02.836" v="18"/>
          <ac:spMkLst>
            <pc:docMk/>
            <pc:sldMk cId="810637578" sldId="263"/>
            <ac:spMk id="23" creationId="{77769E41-3A97-AD3F-7C5F-0E7F8072DCA0}"/>
          </ac:spMkLst>
        </pc:spChg>
        <pc:spChg chg="add del">
          <ac:chgData name="Hsueh-Ning Chao" userId="I32u27yO7tdajtqyP71sKDiQulIz6ic0z1xl0wdhUYk=" providerId="None" clId="Web-{AC0E72A3-6158-4AC3-83F3-463849F2F608}" dt="2025-03-06T17:56:09.032" v="20"/>
          <ac:spMkLst>
            <pc:docMk/>
            <pc:sldMk cId="810637578" sldId="263"/>
            <ac:spMk id="24" creationId="{2341EC5F-EE4C-F919-7BD8-6446FE3D1CDE}"/>
          </ac:spMkLst>
        </pc:spChg>
        <pc:spChg chg="add del mod">
          <ac:chgData name="Hsueh-Ning Chao" userId="I32u27yO7tdajtqyP71sKDiQulIz6ic0z1xl0wdhUYk=" providerId="None" clId="Web-{AC0E72A3-6158-4AC3-83F3-463849F2F608}" dt="2025-03-06T18:20:52.193" v="289"/>
          <ac:spMkLst>
            <pc:docMk/>
            <pc:sldMk cId="810637578" sldId="263"/>
            <ac:spMk id="25" creationId="{391828B1-F11C-9AE9-C6B4-932B0BBDB8DD}"/>
          </ac:spMkLst>
        </pc:spChg>
        <pc:spChg chg="add del mod">
          <ac:chgData name="Hsueh-Ning Chao" userId="I32u27yO7tdajtqyP71sKDiQulIz6ic0z1xl0wdhUYk=" providerId="None" clId="Web-{AC0E72A3-6158-4AC3-83F3-463849F2F608}" dt="2025-03-06T17:59:49.415" v="67"/>
          <ac:spMkLst>
            <pc:docMk/>
            <pc:sldMk cId="810637578" sldId="263"/>
            <ac:spMk id="26" creationId="{CDA9EC0E-D22B-79B2-1AB7-207BDF7C4087}"/>
          </ac:spMkLst>
        </pc:spChg>
        <pc:spChg chg="add del mod">
          <ac:chgData name="Hsueh-Ning Chao" userId="I32u27yO7tdajtqyP71sKDiQulIz6ic0z1xl0wdhUYk=" providerId="None" clId="Web-{AC0E72A3-6158-4AC3-83F3-463849F2F608}" dt="2025-03-06T18:21:09.819" v="294"/>
          <ac:spMkLst>
            <pc:docMk/>
            <pc:sldMk cId="810637578" sldId="263"/>
            <ac:spMk id="27" creationId="{AA07E8C3-4BCF-C9C7-1277-5CC06A781303}"/>
          </ac:spMkLst>
        </pc:spChg>
        <pc:spChg chg="add mod">
          <ac:chgData name="Hsueh-Ning Chao" userId="I32u27yO7tdajtqyP71sKDiQulIz6ic0z1xl0wdhUYk=" providerId="None" clId="Web-{AC0E72A3-6158-4AC3-83F3-463849F2F608}" dt="2025-03-06T19:17:14.107" v="696" actId="1076"/>
          <ac:spMkLst>
            <pc:docMk/>
            <pc:sldMk cId="810637578" sldId="263"/>
            <ac:spMk id="29" creationId="{5EB35800-EDB5-0BBE-2A57-90700E72F066}"/>
          </ac:spMkLst>
        </pc:spChg>
        <pc:spChg chg="add mod">
          <ac:chgData name="Hsueh-Ning Chao" userId="I32u27yO7tdajtqyP71sKDiQulIz6ic0z1xl0wdhUYk=" providerId="None" clId="Web-{AC0E72A3-6158-4AC3-83F3-463849F2F608}" dt="2025-03-06T19:17:14.435" v="698" actId="1076"/>
          <ac:spMkLst>
            <pc:docMk/>
            <pc:sldMk cId="810637578" sldId="263"/>
            <ac:spMk id="31" creationId="{3663D265-9D7B-DEF2-B11B-426B2958C548}"/>
          </ac:spMkLst>
        </pc:spChg>
        <pc:spChg chg="add mod">
          <ac:chgData name="Hsueh-Ning Chao" userId="I32u27yO7tdajtqyP71sKDiQulIz6ic0z1xl0wdhUYk=" providerId="None" clId="Web-{AC0E72A3-6158-4AC3-83F3-463849F2F608}" dt="2025-03-06T19:17:14.623" v="699" actId="1076"/>
          <ac:spMkLst>
            <pc:docMk/>
            <pc:sldMk cId="810637578" sldId="263"/>
            <ac:spMk id="32" creationId="{EAE3474C-EF93-7076-2819-D97501639379}"/>
          </ac:spMkLst>
        </pc:spChg>
        <pc:spChg chg="add del mod">
          <ac:chgData name="Hsueh-Ning Chao" userId="I32u27yO7tdajtqyP71sKDiQulIz6ic0z1xl0wdhUYk=" providerId="None" clId="Web-{AC0E72A3-6158-4AC3-83F3-463849F2F608}" dt="2025-03-06T18:21:20.413" v="298"/>
          <ac:spMkLst>
            <pc:docMk/>
            <pc:sldMk cId="810637578" sldId="263"/>
            <ac:spMk id="33" creationId="{3DD199F8-9E19-9C31-5C8B-6E0E7ACE1BA6}"/>
          </ac:spMkLst>
        </pc:spChg>
        <pc:spChg chg="add del">
          <ac:chgData name="Hsueh-Ning Chao" userId="I32u27yO7tdajtqyP71sKDiQulIz6ic0z1xl0wdhUYk=" providerId="None" clId="Web-{AC0E72A3-6158-4AC3-83F3-463849F2F608}" dt="2025-03-06T19:02:07.303" v="604"/>
          <ac:spMkLst>
            <pc:docMk/>
            <pc:sldMk cId="810637578" sldId="263"/>
            <ac:spMk id="33" creationId="{68BB7264-8F77-E094-8372-188A72E5BB50}"/>
          </ac:spMkLst>
        </pc:spChg>
        <pc:spChg chg="add del">
          <ac:chgData name="Hsueh-Ning Chao" userId="I32u27yO7tdajtqyP71sKDiQulIz6ic0z1xl0wdhUYk=" providerId="None" clId="Web-{AC0E72A3-6158-4AC3-83F3-463849F2F608}" dt="2025-03-06T19:02:10.178" v="606"/>
          <ac:spMkLst>
            <pc:docMk/>
            <pc:sldMk cId="810637578" sldId="263"/>
            <ac:spMk id="35" creationId="{29BBB56B-3811-6DCD-F259-209B8C6908BD}"/>
          </ac:spMkLst>
        </pc:spChg>
        <pc:spChg chg="add del">
          <ac:chgData name="Hsueh-Ning Chao" userId="I32u27yO7tdajtqyP71sKDiQulIz6ic0z1xl0wdhUYk=" providerId="None" clId="Web-{AC0E72A3-6158-4AC3-83F3-463849F2F608}" dt="2025-03-06T19:49:24.264" v="765"/>
          <ac:spMkLst>
            <pc:docMk/>
            <pc:sldMk cId="810637578" sldId="263"/>
            <ac:spMk id="35" creationId="{3316C97E-45EB-4314-43CC-2E47AEC30FEC}"/>
          </ac:spMkLst>
        </pc:spChg>
        <pc:spChg chg="add mod">
          <ac:chgData name="Hsueh-Ning Chao" userId="I32u27yO7tdajtqyP71sKDiQulIz6ic0z1xl0wdhUYk=" providerId="None" clId="Web-{AC0E72A3-6158-4AC3-83F3-463849F2F608}" dt="2025-03-06T19:17:14.982" v="701" actId="1076"/>
          <ac:spMkLst>
            <pc:docMk/>
            <pc:sldMk cId="810637578" sldId="263"/>
            <ac:spMk id="36" creationId="{61F725B3-72D9-2F4A-317E-CF50B6717014}"/>
          </ac:spMkLst>
        </pc:spChg>
        <pc:spChg chg="add mod">
          <ac:chgData name="Hsueh-Ning Chao" userId="I32u27yO7tdajtqyP71sKDiQulIz6ic0z1xl0wdhUYk=" providerId="None" clId="Web-{AC0E72A3-6158-4AC3-83F3-463849F2F608}" dt="2025-03-06T19:17:15.341" v="703" actId="1076"/>
          <ac:spMkLst>
            <pc:docMk/>
            <pc:sldMk cId="810637578" sldId="263"/>
            <ac:spMk id="38" creationId="{8E5015FF-F211-562D-8964-40A7D926CFF2}"/>
          </ac:spMkLst>
        </pc:spChg>
        <pc:spChg chg="add del mod">
          <ac:chgData name="Hsueh-Ning Chao" userId="I32u27yO7tdajtqyP71sKDiQulIz6ic0z1xl0wdhUYk=" providerId="None" clId="Web-{AC0E72A3-6158-4AC3-83F3-463849F2F608}" dt="2025-03-06T19:08:10.609" v="653"/>
          <ac:spMkLst>
            <pc:docMk/>
            <pc:sldMk cId="810637578" sldId="263"/>
            <ac:spMk id="39" creationId="{1BB69CEA-8D8B-A4FD-93BD-5FA530EA37D7}"/>
          </ac:spMkLst>
        </pc:spChg>
        <pc:spChg chg="add mod">
          <ac:chgData name="Hsueh-Ning Chao" userId="I32u27yO7tdajtqyP71sKDiQulIz6ic0z1xl0wdhUYk=" providerId="None" clId="Web-{AC0E72A3-6158-4AC3-83F3-463849F2F608}" dt="2025-03-06T19:17:15.544" v="704" actId="1076"/>
          <ac:spMkLst>
            <pc:docMk/>
            <pc:sldMk cId="810637578" sldId="263"/>
            <ac:spMk id="40" creationId="{586908C8-A80F-26A9-5444-7B8EDE5DD7C1}"/>
          </ac:spMkLst>
        </pc:spChg>
        <pc:spChg chg="add mod">
          <ac:chgData name="Hsueh-Ning Chao" userId="I32u27yO7tdajtqyP71sKDiQulIz6ic0z1xl0wdhUYk=" providerId="None" clId="Web-{AC0E72A3-6158-4AC3-83F3-463849F2F608}" dt="2025-03-06T19:17:15.748" v="705" actId="1076"/>
          <ac:spMkLst>
            <pc:docMk/>
            <pc:sldMk cId="810637578" sldId="263"/>
            <ac:spMk id="41" creationId="{916027A0-46FA-9047-D46C-A9D1352A0B91}"/>
          </ac:spMkLst>
        </pc:spChg>
        <pc:spChg chg="add mod">
          <ac:chgData name="Hsueh-Ning Chao" userId="I32u27yO7tdajtqyP71sKDiQulIz6ic0z1xl0wdhUYk=" providerId="None" clId="Web-{AC0E72A3-6158-4AC3-83F3-463849F2F608}" dt="2025-03-06T19:17:15.966" v="706" actId="1076"/>
          <ac:spMkLst>
            <pc:docMk/>
            <pc:sldMk cId="810637578" sldId="263"/>
            <ac:spMk id="42" creationId="{AB35A3B5-8C6B-4D74-B51E-09AEEAB2B56B}"/>
          </ac:spMkLst>
        </pc:spChg>
        <pc:spChg chg="add mod">
          <ac:chgData name="Hsueh-Ning Chao" userId="I32u27yO7tdajtqyP71sKDiQulIz6ic0z1xl0wdhUYk=" providerId="None" clId="Web-{AC0E72A3-6158-4AC3-83F3-463849F2F608}" dt="2025-03-06T19:17:16.154" v="707" actId="1076"/>
          <ac:spMkLst>
            <pc:docMk/>
            <pc:sldMk cId="810637578" sldId="263"/>
            <ac:spMk id="43" creationId="{8AF17DBA-7AFC-10E1-F1C6-FCC2122CC960}"/>
          </ac:spMkLst>
        </pc:spChg>
        <pc:spChg chg="mod">
          <ac:chgData name="Hsueh-Ning Chao" userId="I32u27yO7tdajtqyP71sKDiQulIz6ic0z1xl0wdhUYk=" providerId="None" clId="Web-{AC0E72A3-6158-4AC3-83F3-463849F2F608}" dt="2025-03-06T19:24:34.430" v="736" actId="1076"/>
          <ac:spMkLst>
            <pc:docMk/>
            <pc:sldMk cId="810637578" sldId="263"/>
            <ac:spMk id="44" creationId="{F3358298-A61B-585C-693F-B9E05EA84E2B}"/>
          </ac:spMkLst>
        </pc:spChg>
        <pc:spChg chg="add mod">
          <ac:chgData name="Hsueh-Ning Chao" userId="I32u27yO7tdajtqyP71sKDiQulIz6ic0z1xl0wdhUYk=" providerId="None" clId="Web-{AC0E72A3-6158-4AC3-83F3-463849F2F608}" dt="2025-03-06T19:17:16.373" v="708" actId="1076"/>
          <ac:spMkLst>
            <pc:docMk/>
            <pc:sldMk cId="810637578" sldId="263"/>
            <ac:spMk id="45" creationId="{5F69154B-9145-BDC6-96D4-3D313DBD9140}"/>
          </ac:spMkLst>
        </pc:spChg>
        <pc:spChg chg="mod">
          <ac:chgData name="Hsueh-Ning Chao" userId="I32u27yO7tdajtqyP71sKDiQulIz6ic0z1xl0wdhUYk=" providerId="None" clId="Web-{AC0E72A3-6158-4AC3-83F3-463849F2F608}" dt="2025-03-06T18:59:02.127" v="536" actId="1076"/>
          <ac:spMkLst>
            <pc:docMk/>
            <pc:sldMk cId="810637578" sldId="263"/>
            <ac:spMk id="46" creationId="{128408B0-2E53-67DC-0B76-B79941F975F2}"/>
          </ac:spMkLst>
        </pc:spChg>
        <pc:spChg chg="mod">
          <ac:chgData name="Hsueh-Ning Chao" userId="I32u27yO7tdajtqyP71sKDiQulIz6ic0z1xl0wdhUYk=" providerId="None" clId="Web-{AC0E72A3-6158-4AC3-83F3-463849F2F608}" dt="2025-03-06T19:46:59.479" v="759" actId="1076"/>
          <ac:spMkLst>
            <pc:docMk/>
            <pc:sldMk cId="810637578" sldId="263"/>
            <ac:spMk id="47" creationId="{07E0DD1A-7B39-59B9-3A3A-EA3C42D7D74A}"/>
          </ac:spMkLst>
        </pc:spChg>
        <pc:spChg chg="mod">
          <ac:chgData name="Hsueh-Ning Chao" userId="I32u27yO7tdajtqyP71sKDiQulIz6ic0z1xl0wdhUYk=" providerId="None" clId="Web-{AC0E72A3-6158-4AC3-83F3-463849F2F608}" dt="2025-03-06T19:50:40.360" v="810" actId="1076"/>
          <ac:spMkLst>
            <pc:docMk/>
            <pc:sldMk cId="810637578" sldId="263"/>
            <ac:spMk id="48" creationId="{4DE82104-B1AB-67A3-78DD-417745282239}"/>
          </ac:spMkLst>
        </pc:spChg>
        <pc:spChg chg="mod">
          <ac:chgData name="Hsueh-Ning Chao" userId="I32u27yO7tdajtqyP71sKDiQulIz6ic0z1xl0wdhUYk=" providerId="None" clId="Web-{AC0E72A3-6158-4AC3-83F3-463849F2F608}" dt="2025-03-06T19:46:35.369" v="754" actId="1076"/>
          <ac:spMkLst>
            <pc:docMk/>
            <pc:sldMk cId="810637578" sldId="263"/>
            <ac:spMk id="49" creationId="{607C8AF3-E134-057E-35D7-F14B9338B342}"/>
          </ac:spMkLst>
        </pc:spChg>
        <pc:spChg chg="add del">
          <ac:chgData name="Hsueh-Ning Chao" userId="I32u27yO7tdajtqyP71sKDiQulIz6ic0z1xl0wdhUYk=" providerId="None" clId="Web-{AC0E72A3-6158-4AC3-83F3-463849F2F608}" dt="2025-03-06T19:02:13.428" v="608"/>
          <ac:spMkLst>
            <pc:docMk/>
            <pc:sldMk cId="810637578" sldId="263"/>
            <ac:spMk id="50" creationId="{1976F4F2-24D3-FD65-7371-80024DFBCD2E}"/>
          </ac:spMkLst>
        </pc:spChg>
        <pc:spChg chg="add mod">
          <ac:chgData name="Hsueh-Ning Chao" userId="I32u27yO7tdajtqyP71sKDiQulIz6ic0z1xl0wdhUYk=" providerId="None" clId="Web-{AC0E72A3-6158-4AC3-83F3-463849F2F608}" dt="2025-03-06T19:17:16.576" v="709" actId="1076"/>
          <ac:spMkLst>
            <pc:docMk/>
            <pc:sldMk cId="810637578" sldId="263"/>
            <ac:spMk id="52" creationId="{8EEC4C13-5D83-4B2A-C1AF-78E482124E2E}"/>
          </ac:spMkLst>
        </pc:spChg>
        <pc:spChg chg="add mod">
          <ac:chgData name="Hsueh-Ning Chao" userId="I32u27yO7tdajtqyP71sKDiQulIz6ic0z1xl0wdhUYk=" providerId="None" clId="Web-{AC0E72A3-6158-4AC3-83F3-463849F2F608}" dt="2025-03-06T19:52:36.269" v="813" actId="20577"/>
          <ac:spMkLst>
            <pc:docMk/>
            <pc:sldMk cId="810637578" sldId="263"/>
            <ac:spMk id="81" creationId="{736A3F39-55EC-EE46-2D7A-20EBB6F3C7C8}"/>
          </ac:spMkLst>
        </pc:spChg>
        <pc:graphicFrameChg chg="mod modGraphic">
          <ac:chgData name="Hsueh-Ning Chao" userId="I32u27yO7tdajtqyP71sKDiQulIz6ic0z1xl0wdhUYk=" providerId="None" clId="Web-{AC0E72A3-6158-4AC3-83F3-463849F2F608}" dt="2025-03-06T19:25:36.276" v="748"/>
          <ac:graphicFrameMkLst>
            <pc:docMk/>
            <pc:sldMk cId="810637578" sldId="263"/>
            <ac:graphicFrameMk id="22" creationId="{5B594D09-B3D6-9151-40B6-4E402FEABE42}"/>
          </ac:graphicFrameMkLst>
        </pc:graphicFrameChg>
        <pc:picChg chg="add del mod">
          <ac:chgData name="Hsueh-Ning Chao" userId="I32u27yO7tdajtqyP71sKDiQulIz6ic0z1xl0wdhUYk=" providerId="None" clId="Web-{AC0E72A3-6158-4AC3-83F3-463849F2F608}" dt="2025-03-06T19:49:04.279" v="761"/>
          <ac:picMkLst>
            <pc:docMk/>
            <pc:sldMk cId="810637578" sldId="263"/>
            <ac:picMk id="2" creationId="{608CBB90-D244-BB75-CDEF-87C26B308EB3}"/>
          </ac:picMkLst>
        </pc:picChg>
        <pc:picChg chg="mod">
          <ac:chgData name="Hsueh-Ning Chao" userId="I32u27yO7tdajtqyP71sKDiQulIz6ic0z1xl0wdhUYk=" providerId="None" clId="Web-{AC0E72A3-6158-4AC3-83F3-463849F2F608}" dt="2025-03-06T19:19:45.361" v="728" actId="1076"/>
          <ac:picMkLst>
            <pc:docMk/>
            <pc:sldMk cId="810637578" sldId="263"/>
            <ac:picMk id="3" creationId="{FAED5053-9F42-7076-66D3-0D0D992E7E7D}"/>
          </ac:picMkLst>
        </pc:picChg>
        <pc:picChg chg="mod">
          <ac:chgData name="Hsueh-Ning Chao" userId="I32u27yO7tdajtqyP71sKDiQulIz6ic0z1xl0wdhUYk=" providerId="None" clId="Web-{AC0E72A3-6158-4AC3-83F3-463849F2F608}" dt="2025-03-06T19:19:44.704" v="724" actId="1076"/>
          <ac:picMkLst>
            <pc:docMk/>
            <pc:sldMk cId="810637578" sldId="263"/>
            <ac:picMk id="6" creationId="{17FC9AB6-0368-7A10-7759-A5B77B50E4C2}"/>
          </ac:picMkLst>
        </pc:picChg>
        <pc:picChg chg="add del mod">
          <ac:chgData name="Hsueh-Ning Chao" userId="I32u27yO7tdajtqyP71sKDiQulIz6ic0z1xl0wdhUYk=" providerId="None" clId="Web-{AC0E72A3-6158-4AC3-83F3-463849F2F608}" dt="2025-03-06T17:51:13.350" v="13"/>
          <ac:picMkLst>
            <pc:docMk/>
            <pc:sldMk cId="810637578" sldId="263"/>
            <ac:picMk id="11" creationId="{4F0F940D-64DE-7F48-5987-C82B984B9535}"/>
          </ac:picMkLst>
        </pc:picChg>
        <pc:picChg chg="add del mod">
          <ac:chgData name="Hsueh-Ning Chao" userId="I32u27yO7tdajtqyP71sKDiQulIz6ic0z1xl0wdhUYk=" providerId="None" clId="Web-{AC0E72A3-6158-4AC3-83F3-463849F2F608}" dt="2025-03-06T17:51:10.991" v="12"/>
          <ac:picMkLst>
            <pc:docMk/>
            <pc:sldMk cId="810637578" sldId="263"/>
            <ac:picMk id="14" creationId="{05996181-4E6E-6EAA-4715-AC6634114B10}"/>
          </ac:picMkLst>
        </pc:picChg>
        <pc:picChg chg="add mod">
          <ac:chgData name="Hsueh-Ning Chao" userId="I32u27yO7tdajtqyP71sKDiQulIz6ic0z1xl0wdhUYk=" providerId="None" clId="Web-{AC0E72A3-6158-4AC3-83F3-463849F2F608}" dt="2025-03-06T19:49:12.295" v="763" actId="1076"/>
          <ac:picMkLst>
            <pc:docMk/>
            <pc:sldMk cId="810637578" sldId="263"/>
            <ac:picMk id="14" creationId="{1548A0EE-44D8-5FCD-226A-27421ECD7486}"/>
          </ac:picMkLst>
        </pc:picChg>
        <pc:picChg chg="add del mod">
          <ac:chgData name="Hsueh-Ning Chao" userId="I32u27yO7tdajtqyP71sKDiQulIz6ic0z1xl0wdhUYk=" providerId="None" clId="Web-{AC0E72A3-6158-4AC3-83F3-463849F2F608}" dt="2025-03-06T17:51:09.444" v="11"/>
          <ac:picMkLst>
            <pc:docMk/>
            <pc:sldMk cId="810637578" sldId="263"/>
            <ac:picMk id="15" creationId="{C1C046C4-0062-4772-8F77-8BBB5AA25D51}"/>
          </ac:picMkLst>
        </pc:picChg>
        <pc:picChg chg="add mod">
          <ac:chgData name="Hsueh-Ning Chao" userId="I32u27yO7tdajtqyP71sKDiQulIz6ic0z1xl0wdhUYk=" providerId="None" clId="Web-{AC0E72A3-6158-4AC3-83F3-463849F2F608}" dt="2025-03-06T19:17:13.576" v="693" actId="1076"/>
          <ac:picMkLst>
            <pc:docMk/>
            <pc:sldMk cId="810637578" sldId="263"/>
            <ac:picMk id="16" creationId="{0625277F-6D8C-8DFF-9705-C4FABB0C845A}"/>
          </ac:picMkLst>
        </pc:picChg>
        <pc:picChg chg="mod">
          <ac:chgData name="Hsueh-Ning Chao" userId="I32u27yO7tdajtqyP71sKDiQulIz6ic0z1xl0wdhUYk=" providerId="None" clId="Web-{AC0E72A3-6158-4AC3-83F3-463849F2F608}" dt="2025-03-06T19:19:44.876" v="725" actId="1076"/>
          <ac:picMkLst>
            <pc:docMk/>
            <pc:sldMk cId="810637578" sldId="263"/>
            <ac:picMk id="19" creationId="{8CC48D3F-FACA-D61A-D8D7-53B58A14805E}"/>
          </ac:picMkLst>
        </pc:picChg>
        <pc:picChg chg="mod">
          <ac:chgData name="Hsueh-Ning Chao" userId="I32u27yO7tdajtqyP71sKDiQulIz6ic0z1xl0wdhUYk=" providerId="None" clId="Web-{AC0E72A3-6158-4AC3-83F3-463849F2F608}" dt="2025-03-06T19:19:45.033" v="726" actId="1076"/>
          <ac:picMkLst>
            <pc:docMk/>
            <pc:sldMk cId="810637578" sldId="263"/>
            <ac:picMk id="20" creationId="{610A73A9-1EBF-8AC9-CDBE-6649694F9C76}"/>
          </ac:picMkLst>
        </pc:picChg>
        <pc:picChg chg="mod">
          <ac:chgData name="Hsueh-Ning Chao" userId="I32u27yO7tdajtqyP71sKDiQulIz6ic0z1xl0wdhUYk=" providerId="None" clId="Web-{AC0E72A3-6158-4AC3-83F3-463849F2F608}" dt="2025-03-06T19:19:45.204" v="727" actId="1076"/>
          <ac:picMkLst>
            <pc:docMk/>
            <pc:sldMk cId="810637578" sldId="263"/>
            <ac:picMk id="21" creationId="{296A8129-2C09-0036-03D9-B21FEE148C45}"/>
          </ac:picMkLst>
        </pc:picChg>
        <pc:picChg chg="add mod">
          <ac:chgData name="Hsueh-Ning Chao" userId="I32u27yO7tdajtqyP71sKDiQulIz6ic0z1xl0wdhUYk=" providerId="None" clId="Web-{AC0E72A3-6158-4AC3-83F3-463849F2F608}" dt="2025-03-06T19:17:13.919" v="695" actId="1076"/>
          <ac:picMkLst>
            <pc:docMk/>
            <pc:sldMk cId="810637578" sldId="263"/>
            <ac:picMk id="28" creationId="{F8F74898-DD82-7EBE-304E-9C8EEDC013C6}"/>
          </ac:picMkLst>
        </pc:picChg>
        <pc:picChg chg="add mod">
          <ac:chgData name="Hsueh-Ning Chao" userId="I32u27yO7tdajtqyP71sKDiQulIz6ic0z1xl0wdhUYk=" providerId="None" clId="Web-{AC0E72A3-6158-4AC3-83F3-463849F2F608}" dt="2025-03-06T19:17:14.263" v="697" actId="1076"/>
          <ac:picMkLst>
            <pc:docMk/>
            <pc:sldMk cId="810637578" sldId="263"/>
            <ac:picMk id="30" creationId="{03E30BE5-B3CB-A039-9301-F5CFE726B255}"/>
          </ac:picMkLst>
        </pc:picChg>
        <pc:picChg chg="add mod">
          <ac:chgData name="Hsueh-Ning Chao" userId="I32u27yO7tdajtqyP71sKDiQulIz6ic0z1xl0wdhUYk=" providerId="None" clId="Web-{AC0E72A3-6158-4AC3-83F3-463849F2F608}" dt="2025-03-06T19:17:14.794" v="700" actId="1076"/>
          <ac:picMkLst>
            <pc:docMk/>
            <pc:sldMk cId="810637578" sldId="263"/>
            <ac:picMk id="34" creationId="{6F317624-54BB-CAB1-F192-71909F611D1B}"/>
          </ac:picMkLst>
        </pc:picChg>
        <pc:picChg chg="add del mod">
          <ac:chgData name="Hsueh-Ning Chao" userId="I32u27yO7tdajtqyP71sKDiQulIz6ic0z1xl0wdhUYk=" providerId="None" clId="Web-{AC0E72A3-6158-4AC3-83F3-463849F2F608}" dt="2025-03-06T18:05:26.036" v="136"/>
          <ac:picMkLst>
            <pc:docMk/>
            <pc:sldMk cId="810637578" sldId="263"/>
            <ac:picMk id="35" creationId="{FCDDFC5E-A952-444B-0960-A6495753BFB5}"/>
          </ac:picMkLst>
        </pc:picChg>
        <pc:picChg chg="add mod">
          <ac:chgData name="Hsueh-Ning Chao" userId="I32u27yO7tdajtqyP71sKDiQulIz6ic0z1xl0wdhUYk=" providerId="None" clId="Web-{AC0E72A3-6158-4AC3-83F3-463849F2F608}" dt="2025-03-06T19:17:15.138" v="702" actId="1076"/>
          <ac:picMkLst>
            <pc:docMk/>
            <pc:sldMk cId="810637578" sldId="263"/>
            <ac:picMk id="37" creationId="{5431A585-6875-16F5-88DB-A9E4E339787C}"/>
          </ac:picMkLst>
        </pc:picChg>
        <pc:picChg chg="mod">
          <ac:chgData name="Hsueh-Ning Chao" userId="I32u27yO7tdajtqyP71sKDiQulIz6ic0z1xl0wdhUYk=" providerId="None" clId="Web-{AC0E72A3-6158-4AC3-83F3-463849F2F608}" dt="2025-03-06T19:22:23.115" v="732" actId="1076"/>
          <ac:picMkLst>
            <pc:docMk/>
            <pc:sldMk cId="810637578" sldId="263"/>
            <ac:picMk id="70" creationId="{DCFDB0B7-1FE1-CEF7-1A7E-C030240317BC}"/>
          </ac:picMkLst>
        </pc:picChg>
        <pc:picChg chg="del">
          <ac:chgData name="Hsueh-Ning Chao" userId="I32u27yO7tdajtqyP71sKDiQulIz6ic0z1xl0wdhUYk=" providerId="None" clId="Web-{AC0E72A3-6158-4AC3-83F3-463849F2F608}" dt="2025-03-06T19:46:05.915" v="749"/>
          <ac:picMkLst>
            <pc:docMk/>
            <pc:sldMk cId="810637578" sldId="263"/>
            <ac:picMk id="104" creationId="{40AD6066-4C3C-EABF-BDB8-08BDDA9097E7}"/>
          </ac:picMkLst>
        </pc:picChg>
        <pc:cxnChg chg="add del mod">
          <ac:chgData name="Hsueh-Ning Chao" userId="I32u27yO7tdajtqyP71sKDiQulIz6ic0z1xl0wdhUYk=" providerId="None" clId="Web-{AC0E72A3-6158-4AC3-83F3-463849F2F608}" dt="2025-03-06T18:22:53.635" v="304"/>
          <ac:cxnSpMkLst>
            <pc:docMk/>
            <pc:sldMk cId="810637578" sldId="263"/>
            <ac:cxnSpMk id="50" creationId="{FFD8D94A-FAAC-A90C-95B1-219720F4F60F}"/>
          </ac:cxnSpMkLst>
        </pc:cxnChg>
        <pc:cxnChg chg="add del mod">
          <ac:chgData name="Hsueh-Ning Chao" userId="I32u27yO7tdajtqyP71sKDiQulIz6ic0z1xl0wdhUYk=" providerId="None" clId="Web-{AC0E72A3-6158-4AC3-83F3-463849F2F608}" dt="2025-03-06T18:24:25.951" v="310"/>
          <ac:cxnSpMkLst>
            <pc:docMk/>
            <pc:sldMk cId="810637578" sldId="263"/>
            <ac:cxnSpMk id="52" creationId="{E28AB7AB-5F70-F792-9554-7A891E004F8D}"/>
          </ac:cxnSpMkLst>
        </pc:cxnChg>
        <pc:cxnChg chg="mod">
          <ac:chgData name="Hsueh-Ning Chao" userId="I32u27yO7tdajtqyP71sKDiQulIz6ic0z1xl0wdhUYk=" providerId="None" clId="Web-{AC0E72A3-6158-4AC3-83F3-463849F2F608}" dt="2025-03-06T18:48:22.063" v="353" actId="1076"/>
          <ac:cxnSpMkLst>
            <pc:docMk/>
            <pc:sldMk cId="810637578" sldId="263"/>
            <ac:cxnSpMk id="55" creationId="{1724909C-7D2F-3B28-6FF4-B3076A59A6A7}"/>
          </ac:cxnSpMkLst>
        </pc:cxnChg>
        <pc:extLst>
          <p:ext xmlns:p="http://schemas.openxmlformats.org/presentationml/2006/main" uri="{D6D511B9-2390-475A-947B-AFAB55BFBCF1}">
            <pc226:cmChg xmlns:pc226="http://schemas.microsoft.com/office/powerpoint/2022/06/main/command" chg="mod">
              <pc226:chgData name="Hsueh-Ning Chao" userId="I32u27yO7tdajtqyP71sKDiQulIz6ic0z1xl0wdhUYk=" providerId="None" clId="Web-{AC0E72A3-6158-4AC3-83F3-463849F2F608}" dt="2025-03-06T19:49:47.265" v="771" actId="20577"/>
              <pc2:cmMkLst xmlns:pc2="http://schemas.microsoft.com/office/powerpoint/2019/9/main/command">
                <pc:docMk/>
                <pc:sldMk cId="810637578" sldId="263"/>
                <pc2:cmMk id="{E0558DB1-E828-415A-BF3F-74D97FC8535A}"/>
              </pc2:cmMkLst>
            </pc226:cmChg>
          </p:ext>
        </pc:extLst>
      </pc:sldChg>
    </pc:docChg>
  </pc:docChgLst>
  <pc:docChgLst>
    <pc:chgData name="Tanvir Ahmed Farook" userId="TCYBb3uSJ+bdHYXHvL8inqj6VAMXLD9G89AUjqTPq2w=" providerId="None" clId="Web-{7CC02039-6FB3-45F6-BFB8-2F75A79EF43E}"/>
    <pc:docChg chg="modSld">
      <pc:chgData name="Tanvir Ahmed Farook" userId="TCYBb3uSJ+bdHYXHvL8inqj6VAMXLD9G89AUjqTPq2w=" providerId="None" clId="Web-{7CC02039-6FB3-45F6-BFB8-2F75A79EF43E}" dt="2025-03-06T21:18:39.988" v="8" actId="14100"/>
      <pc:docMkLst>
        <pc:docMk/>
      </pc:docMkLst>
      <pc:sldChg chg="modSp">
        <pc:chgData name="Tanvir Ahmed Farook" userId="TCYBb3uSJ+bdHYXHvL8inqj6VAMXLD9G89AUjqTPq2w=" providerId="None" clId="Web-{7CC02039-6FB3-45F6-BFB8-2F75A79EF43E}" dt="2025-03-06T21:18:39.988" v="8" actId="14100"/>
        <pc:sldMkLst>
          <pc:docMk/>
          <pc:sldMk cId="810637578" sldId="263"/>
        </pc:sldMkLst>
        <pc:spChg chg="mod">
          <ac:chgData name="Tanvir Ahmed Farook" userId="TCYBb3uSJ+bdHYXHvL8inqj6VAMXLD9G89AUjqTPq2w=" providerId="None" clId="Web-{7CC02039-6FB3-45F6-BFB8-2F75A79EF43E}" dt="2025-03-06T21:18:39.988" v="8" actId="14100"/>
          <ac:spMkLst>
            <pc:docMk/>
            <pc:sldMk cId="810637578" sldId="263"/>
            <ac:spMk id="144" creationId="{7A944E77-0F91-A2B8-D59F-8AACC1B5F480}"/>
          </ac:spMkLst>
        </pc:spChg>
        <pc:picChg chg="mod">
          <ac:chgData name="Tanvir Ahmed Farook" userId="TCYBb3uSJ+bdHYXHvL8inqj6VAMXLD9G89AUjqTPq2w=" providerId="None" clId="Web-{7CC02039-6FB3-45F6-BFB8-2F75A79EF43E}" dt="2025-03-06T21:18:31.175" v="7" actId="14100"/>
          <ac:picMkLst>
            <pc:docMk/>
            <pc:sldMk cId="810637578" sldId="263"/>
            <ac:picMk id="4" creationId="{486A0C58-EC79-1171-04D5-69D65D61C307}"/>
          </ac:picMkLst>
        </pc:picChg>
      </pc:sldChg>
    </pc:docChg>
  </pc:docChgLst>
  <pc:docChgLst>
    <pc:chgData name="Ananth Mohan" userId="0+ntHPCRoNBLvPdhBUzfljBEc8fje1ZhpS6eiRuEUeE=" providerId="None" clId="Web-{AC7ADEFC-0C59-4468-BC76-370684F2D24D}"/>
    <pc:docChg chg="modSld">
      <pc:chgData name="Ananth Mohan" userId="0+ntHPCRoNBLvPdhBUzfljBEc8fje1ZhpS6eiRuEUeE=" providerId="None" clId="Web-{AC7ADEFC-0C59-4468-BC76-370684F2D24D}" dt="2025-03-26T03:33:51.796" v="19" actId="1076"/>
      <pc:docMkLst>
        <pc:docMk/>
      </pc:docMkLst>
      <pc:sldChg chg="addSp delSp modSp">
        <pc:chgData name="Ananth Mohan" userId="0+ntHPCRoNBLvPdhBUzfljBEc8fje1ZhpS6eiRuEUeE=" providerId="None" clId="Web-{AC7ADEFC-0C59-4468-BC76-370684F2D24D}" dt="2025-03-26T03:33:51.796" v="19" actId="1076"/>
        <pc:sldMkLst>
          <pc:docMk/>
          <pc:sldMk cId="810637578" sldId="263"/>
        </pc:sldMkLst>
        <pc:picChg chg="add mod">
          <ac:chgData name="Ananth Mohan" userId="0+ntHPCRoNBLvPdhBUzfljBEc8fje1ZhpS6eiRuEUeE=" providerId="None" clId="Web-{AC7ADEFC-0C59-4468-BC76-370684F2D24D}" dt="2025-03-26T03:33:51.796" v="19" actId="1076"/>
          <ac:picMkLst>
            <pc:docMk/>
            <pc:sldMk cId="810637578" sldId="263"/>
            <ac:picMk id="85" creationId="{009ABF52-6B39-FE8A-90E5-ED0C27EF6EDE}"/>
          </ac:picMkLst>
        </pc:picChg>
        <pc:picChg chg="mod">
          <ac:chgData name="Ananth Mohan" userId="0+ntHPCRoNBLvPdhBUzfljBEc8fje1ZhpS6eiRuEUeE=" providerId="None" clId="Web-{AC7ADEFC-0C59-4468-BC76-370684F2D24D}" dt="2025-03-26T03:33:50.686" v="14" actId="1076"/>
          <ac:picMkLst>
            <pc:docMk/>
            <pc:sldMk cId="810637578" sldId="263"/>
            <ac:picMk id="96" creationId="{8A1E435C-3168-AB10-5837-83EECFA6D9F8}"/>
          </ac:picMkLst>
        </pc:picChg>
        <pc:picChg chg="mod">
          <ac:chgData name="Ananth Mohan" userId="0+ntHPCRoNBLvPdhBUzfljBEc8fje1ZhpS6eiRuEUeE=" providerId="None" clId="Web-{AC7ADEFC-0C59-4468-BC76-370684F2D24D}" dt="2025-03-26T03:33:42.217" v="7" actId="1076"/>
          <ac:picMkLst>
            <pc:docMk/>
            <pc:sldMk cId="810637578" sldId="263"/>
            <ac:picMk id="104" creationId="{FC64191F-787D-F12F-E95D-E6A87AAFD11E}"/>
          </ac:picMkLst>
        </pc:picChg>
        <pc:picChg chg="del mod">
          <ac:chgData name="Ananth Mohan" userId="0+ntHPCRoNBLvPdhBUzfljBEc8fje1ZhpS6eiRuEUeE=" providerId="None" clId="Web-{AC7ADEFC-0C59-4468-BC76-370684F2D24D}" dt="2025-03-26T03:33:27.982" v="5"/>
          <ac:picMkLst>
            <pc:docMk/>
            <pc:sldMk cId="810637578" sldId="263"/>
            <ac:picMk id="126" creationId="{181ED16E-A00F-F235-9D93-37F520A31C96}"/>
          </ac:picMkLst>
        </pc:picChg>
        <pc:picChg chg="mod">
          <ac:chgData name="Ananth Mohan" userId="0+ntHPCRoNBLvPdhBUzfljBEc8fje1ZhpS6eiRuEUeE=" providerId="None" clId="Web-{AC7ADEFC-0C59-4468-BC76-370684F2D24D}" dt="2025-03-26T03:33:50.905" v="15" actId="1076"/>
          <ac:picMkLst>
            <pc:docMk/>
            <pc:sldMk cId="810637578" sldId="263"/>
            <ac:picMk id="136" creationId="{DDDEC562-1A15-82CB-8875-D1F5928D56B3}"/>
          </ac:picMkLst>
        </pc:picChg>
        <pc:picChg chg="mod">
          <ac:chgData name="Ananth Mohan" userId="0+ntHPCRoNBLvPdhBUzfljBEc8fje1ZhpS6eiRuEUeE=" providerId="None" clId="Web-{AC7ADEFC-0C59-4468-BC76-370684F2D24D}" dt="2025-03-26T03:33:51.124" v="16" actId="1076"/>
          <ac:picMkLst>
            <pc:docMk/>
            <pc:sldMk cId="810637578" sldId="263"/>
            <ac:picMk id="141" creationId="{79FB5AEB-3DAD-1FFE-EEE8-34DE8B2D4409}"/>
          </ac:picMkLst>
        </pc:picChg>
        <pc:picChg chg="mod">
          <ac:chgData name="Ananth Mohan" userId="0+ntHPCRoNBLvPdhBUzfljBEc8fje1ZhpS6eiRuEUeE=" providerId="None" clId="Web-{AC7ADEFC-0C59-4468-BC76-370684F2D24D}" dt="2025-03-26T03:33:51.342" v="17" actId="1076"/>
          <ac:picMkLst>
            <pc:docMk/>
            <pc:sldMk cId="810637578" sldId="263"/>
            <ac:picMk id="143" creationId="{AEF9494A-AD3C-E933-30A9-D6F8742DB88D}"/>
          </ac:picMkLst>
        </pc:picChg>
        <pc:picChg chg="mod">
          <ac:chgData name="Ananth Mohan" userId="0+ntHPCRoNBLvPdhBUzfljBEc8fje1ZhpS6eiRuEUeE=" providerId="None" clId="Web-{AC7ADEFC-0C59-4468-BC76-370684F2D24D}" dt="2025-03-26T03:33:43.092" v="11" actId="1076"/>
          <ac:picMkLst>
            <pc:docMk/>
            <pc:sldMk cId="810637578" sldId="263"/>
            <ac:picMk id="145" creationId="{0F46F35B-A7FD-2D13-1A05-D60E19736906}"/>
          </ac:picMkLst>
        </pc:picChg>
        <pc:picChg chg="mod">
          <ac:chgData name="Ananth Mohan" userId="0+ntHPCRoNBLvPdhBUzfljBEc8fje1ZhpS6eiRuEUeE=" providerId="None" clId="Web-{AC7ADEFC-0C59-4468-BC76-370684F2D24D}" dt="2025-03-26T03:33:51.577" v="18" actId="1076"/>
          <ac:picMkLst>
            <pc:docMk/>
            <pc:sldMk cId="810637578" sldId="263"/>
            <ac:picMk id="146" creationId="{42F02FF9-5933-F2E5-3055-58B04F0127B2}"/>
          </ac:picMkLst>
        </pc:picChg>
      </pc:sldChg>
    </pc:docChg>
  </pc:docChgLst>
  <pc:docChgLst>
    <pc:chgData name="Farha Shireen" userId="K9hHn9oINz5vZ9EtNhWdkbocU8fYfQRPeYvfmnVYJ7Q=" providerId="None" clId="Web-{93900118-71BA-4D93-BA3D-BC4DEA2AF6E5}"/>
    <pc:docChg chg="modSld">
      <pc:chgData name="Farha Shireen" userId="K9hHn9oINz5vZ9EtNhWdkbocU8fYfQRPeYvfmnVYJ7Q=" providerId="None" clId="Web-{93900118-71BA-4D93-BA3D-BC4DEA2AF6E5}" dt="2025-03-06T16:24:32.102" v="49"/>
      <pc:docMkLst>
        <pc:docMk/>
      </pc:docMkLst>
      <pc:sldChg chg="addSp delSp modSp">
        <pc:chgData name="Farha Shireen" userId="K9hHn9oINz5vZ9EtNhWdkbocU8fYfQRPeYvfmnVYJ7Q=" providerId="None" clId="Web-{93900118-71BA-4D93-BA3D-BC4DEA2AF6E5}" dt="2025-03-06T16:24:32.102" v="49"/>
        <pc:sldMkLst>
          <pc:docMk/>
          <pc:sldMk cId="810637578" sldId="263"/>
        </pc:sldMkLst>
        <pc:spChg chg="del">
          <ac:chgData name="Farha Shireen" userId="K9hHn9oINz5vZ9EtNhWdkbocU8fYfQRPeYvfmnVYJ7Q=" providerId="None" clId="Web-{93900118-71BA-4D93-BA3D-BC4DEA2AF6E5}" dt="2025-03-06T16:23:45.555" v="39"/>
          <ac:spMkLst>
            <pc:docMk/>
            <pc:sldMk cId="810637578" sldId="263"/>
            <ac:spMk id="2" creationId="{AFD354AA-5526-C402-F759-0D38C2DFF0AA}"/>
          </ac:spMkLst>
        </pc:spChg>
        <pc:spChg chg="del mod">
          <ac:chgData name="Farha Shireen" userId="K9hHn9oINz5vZ9EtNhWdkbocU8fYfQRPeYvfmnVYJ7Q=" providerId="None" clId="Web-{93900118-71BA-4D93-BA3D-BC4DEA2AF6E5}" dt="2025-03-06T16:23:54.852" v="41"/>
          <ac:spMkLst>
            <pc:docMk/>
            <pc:sldMk cId="810637578" sldId="263"/>
            <ac:spMk id="3" creationId="{2400596C-3C37-42AC-3AA8-1D768C694B33}"/>
          </ac:spMkLst>
        </pc:spChg>
        <pc:spChg chg="mod">
          <ac:chgData name="Farha Shireen" userId="K9hHn9oINz5vZ9EtNhWdkbocU8fYfQRPeYvfmnVYJ7Q=" providerId="None" clId="Web-{93900118-71BA-4D93-BA3D-BC4DEA2AF6E5}" dt="2025-03-06T16:23:44.227" v="38" actId="20577"/>
          <ac:spMkLst>
            <pc:docMk/>
            <pc:sldMk cId="810637578" sldId="263"/>
            <ac:spMk id="62" creationId="{9F4391FC-E34A-9C75-C366-27C595140A9E}"/>
          </ac:spMkLst>
        </pc:spChg>
        <pc:spChg chg="del">
          <ac:chgData name="Farha Shireen" userId="K9hHn9oINz5vZ9EtNhWdkbocU8fYfQRPeYvfmnVYJ7Q=" providerId="None" clId="Web-{93900118-71BA-4D93-BA3D-BC4DEA2AF6E5}" dt="2025-03-06T15:53:01.518" v="0"/>
          <ac:spMkLst>
            <pc:docMk/>
            <pc:sldMk cId="810637578" sldId="263"/>
            <ac:spMk id="69" creationId="{6ECDA736-8390-BCC5-85EF-52FFA5D98261}"/>
          </ac:spMkLst>
        </pc:spChg>
        <pc:spChg chg="del">
          <ac:chgData name="Farha Shireen" userId="K9hHn9oINz5vZ9EtNhWdkbocU8fYfQRPeYvfmnVYJ7Q=" providerId="None" clId="Web-{93900118-71BA-4D93-BA3D-BC4DEA2AF6E5}" dt="2025-03-06T15:53:24.096" v="11"/>
          <ac:spMkLst>
            <pc:docMk/>
            <pc:sldMk cId="810637578" sldId="263"/>
            <ac:spMk id="135" creationId="{0FE7AA3F-C210-B6AA-CC27-5A647D882887}"/>
          </ac:spMkLst>
        </pc:spChg>
        <pc:graphicFrameChg chg="mod modGraphic">
          <ac:chgData name="Farha Shireen" userId="K9hHn9oINz5vZ9EtNhWdkbocU8fYfQRPeYvfmnVYJ7Q=" providerId="None" clId="Web-{93900118-71BA-4D93-BA3D-BC4DEA2AF6E5}" dt="2025-03-06T15:53:11.190" v="10"/>
          <ac:graphicFrameMkLst>
            <pc:docMk/>
            <pc:sldMk cId="810637578" sldId="263"/>
            <ac:graphicFrameMk id="137" creationId="{D0909573-BD8B-F1EF-2A78-5D0C57910215}"/>
          </ac:graphicFrameMkLst>
        </pc:graphicFrameChg>
        <pc:cxnChg chg="add del mod">
          <ac:chgData name="Farha Shireen" userId="K9hHn9oINz5vZ9EtNhWdkbocU8fYfQRPeYvfmnVYJ7Q=" providerId="None" clId="Web-{93900118-71BA-4D93-BA3D-BC4DEA2AF6E5}" dt="2025-03-06T16:24:16.852" v="45"/>
          <ac:cxnSpMkLst>
            <pc:docMk/>
            <pc:sldMk cId="810637578" sldId="263"/>
            <ac:cxnSpMk id="6" creationId="{BD0F4C95-C51C-2D6A-24CF-C50FA19DF4F2}"/>
          </ac:cxnSpMkLst>
        </pc:cxnChg>
        <pc:cxnChg chg="add del mod">
          <ac:chgData name="Farha Shireen" userId="K9hHn9oINz5vZ9EtNhWdkbocU8fYfQRPeYvfmnVYJ7Q=" providerId="None" clId="Web-{93900118-71BA-4D93-BA3D-BC4DEA2AF6E5}" dt="2025-03-06T16:24:32.102" v="49"/>
          <ac:cxnSpMkLst>
            <pc:docMk/>
            <pc:sldMk cId="810637578" sldId="263"/>
            <ac:cxnSpMk id="8" creationId="{DE804087-A5B4-CADA-D6FD-3737CD4935AA}"/>
          </ac:cxnSpMkLst>
        </pc:cxnChg>
      </pc:sldChg>
    </pc:docChg>
  </pc:docChgLst>
  <pc:docChgLst>
    <pc:chgData clId="Web-{67EA765A-4D1A-4454-BE9C-ABA969CFF3BD}"/>
    <pc:docChg chg="modSld">
      <pc:chgData name="" userId="" providerId="" clId="Web-{67EA765A-4D1A-4454-BE9C-ABA969CFF3BD}" dt="2025-03-06T19:50:06.266" v="0" actId="1076"/>
      <pc:docMkLst>
        <pc:docMk/>
      </pc:docMkLst>
      <pc:sldChg chg="modSp">
        <pc:chgData name="" userId="" providerId="" clId="Web-{67EA765A-4D1A-4454-BE9C-ABA969CFF3BD}" dt="2025-03-06T19:50:06.266" v="0" actId="1076"/>
        <pc:sldMkLst>
          <pc:docMk/>
          <pc:sldMk cId="810637578" sldId="263"/>
        </pc:sldMkLst>
        <pc:picChg chg="mod">
          <ac:chgData name="" userId="" providerId="" clId="Web-{67EA765A-4D1A-4454-BE9C-ABA969CFF3BD}" dt="2025-03-06T19:50:06.266" v="0" actId="1076"/>
          <ac:picMkLst>
            <pc:docMk/>
            <pc:sldMk cId="810637578" sldId="263"/>
            <ac:picMk id="78" creationId="{62B959F5-455A-655F-F161-6252FB0D6268}"/>
          </ac:picMkLst>
        </pc:picChg>
      </pc:sldChg>
    </pc:docChg>
  </pc:docChgLst>
  <pc:docChgLst>
    <pc:chgData name="Farha Shireen" userId="K9hHn9oINz5vZ9EtNhWdkbocU8fYfQRPeYvfmnVYJ7Q=" providerId="None" clId="Web-{6DE972A5-80CE-4E70-B9E0-3FD74CFDE84A}"/>
    <pc:docChg chg="modSld">
      <pc:chgData name="Farha Shireen" userId="K9hHn9oINz5vZ9EtNhWdkbocU8fYfQRPeYvfmnVYJ7Q=" providerId="None" clId="Web-{6DE972A5-80CE-4E70-B9E0-3FD74CFDE84A}" dt="2025-03-06T19:25:20.286" v="126"/>
      <pc:docMkLst>
        <pc:docMk/>
      </pc:docMkLst>
      <pc:sldChg chg="addSp delSp modSp modCm">
        <pc:chgData name="Farha Shireen" userId="K9hHn9oINz5vZ9EtNhWdkbocU8fYfQRPeYvfmnVYJ7Q=" providerId="None" clId="Web-{6DE972A5-80CE-4E70-B9E0-3FD74CFDE84A}" dt="2025-03-06T19:25:20.286" v="126"/>
        <pc:sldMkLst>
          <pc:docMk/>
          <pc:sldMk cId="810637578" sldId="263"/>
        </pc:sldMkLst>
        <pc:spChg chg="mod">
          <ac:chgData name="Farha Shireen" userId="K9hHn9oINz5vZ9EtNhWdkbocU8fYfQRPeYvfmnVYJ7Q=" providerId="None" clId="Web-{6DE972A5-80CE-4E70-B9E0-3FD74CFDE84A}" dt="2025-03-06T18:56:31.356" v="74" actId="1076"/>
          <ac:spMkLst>
            <pc:docMk/>
            <pc:sldMk cId="810637578" sldId="263"/>
            <ac:spMk id="2" creationId="{32CC5A80-0450-772D-9231-C5665C60D606}"/>
          </ac:spMkLst>
        </pc:spChg>
        <pc:spChg chg="mod">
          <ac:chgData name="Farha Shireen" userId="K9hHn9oINz5vZ9EtNhWdkbocU8fYfQRPeYvfmnVYJ7Q=" providerId="None" clId="Web-{6DE972A5-80CE-4E70-B9E0-3FD74CFDE84A}" dt="2025-03-06T18:56:58.669" v="81" actId="20577"/>
          <ac:spMkLst>
            <pc:docMk/>
            <pc:sldMk cId="810637578" sldId="263"/>
            <ac:spMk id="5" creationId="{D4253DBF-C5E1-107A-A92F-3342904DDE9F}"/>
          </ac:spMkLst>
        </pc:spChg>
        <pc:spChg chg="mod">
          <ac:chgData name="Farha Shireen" userId="K9hHn9oINz5vZ9EtNhWdkbocU8fYfQRPeYvfmnVYJ7Q=" providerId="None" clId="Web-{6DE972A5-80CE-4E70-B9E0-3FD74CFDE84A}" dt="2025-03-06T19:12:13.149" v="88" actId="14100"/>
          <ac:spMkLst>
            <pc:docMk/>
            <pc:sldMk cId="810637578" sldId="263"/>
            <ac:spMk id="13" creationId="{C60A1247-0AC1-E763-5FF5-906DD09F96E5}"/>
          </ac:spMkLst>
        </pc:spChg>
        <pc:spChg chg="mod">
          <ac:chgData name="Farha Shireen" userId="K9hHn9oINz5vZ9EtNhWdkbocU8fYfQRPeYvfmnVYJ7Q=" providerId="None" clId="Web-{6DE972A5-80CE-4E70-B9E0-3FD74CFDE84A}" dt="2025-03-06T18:46:30.718" v="32" actId="1076"/>
          <ac:spMkLst>
            <pc:docMk/>
            <pc:sldMk cId="810637578" sldId="263"/>
            <ac:spMk id="17" creationId="{C9B4D23D-7D0A-5D8B-63F7-3F63C3CE303F}"/>
          </ac:spMkLst>
        </pc:spChg>
        <pc:spChg chg="mod">
          <ac:chgData name="Farha Shireen" userId="K9hHn9oINz5vZ9EtNhWdkbocU8fYfQRPeYvfmnVYJ7Q=" providerId="None" clId="Web-{6DE972A5-80CE-4E70-B9E0-3FD74CFDE84A}" dt="2025-03-06T18:50:21.171" v="51" actId="1076"/>
          <ac:spMkLst>
            <pc:docMk/>
            <pc:sldMk cId="810637578" sldId="263"/>
            <ac:spMk id="29" creationId="{5EB35800-EDB5-0BBE-2A57-90700E72F066}"/>
          </ac:spMkLst>
        </pc:spChg>
        <pc:spChg chg="mod">
          <ac:chgData name="Farha Shireen" userId="K9hHn9oINz5vZ9EtNhWdkbocU8fYfQRPeYvfmnVYJ7Q=" providerId="None" clId="Web-{6DE972A5-80CE-4E70-B9E0-3FD74CFDE84A}" dt="2025-03-06T18:50:28.655" v="53" actId="1076"/>
          <ac:spMkLst>
            <pc:docMk/>
            <pc:sldMk cId="810637578" sldId="263"/>
            <ac:spMk id="31" creationId="{3663D265-9D7B-DEF2-B11B-426B2958C548}"/>
          </ac:spMkLst>
        </pc:spChg>
        <pc:spChg chg="mod">
          <ac:chgData name="Farha Shireen" userId="K9hHn9oINz5vZ9EtNhWdkbocU8fYfQRPeYvfmnVYJ7Q=" providerId="None" clId="Web-{6DE972A5-80CE-4E70-B9E0-3FD74CFDE84A}" dt="2025-03-06T18:46:31.500" v="37" actId="1076"/>
          <ac:spMkLst>
            <pc:docMk/>
            <pc:sldMk cId="810637578" sldId="263"/>
            <ac:spMk id="32" creationId="{EAE3474C-EF93-7076-2819-D97501639379}"/>
          </ac:spMkLst>
        </pc:spChg>
        <pc:spChg chg="mod">
          <ac:chgData name="Farha Shireen" userId="K9hHn9oINz5vZ9EtNhWdkbocU8fYfQRPeYvfmnVYJ7Q=" providerId="None" clId="Web-{6DE972A5-80CE-4E70-B9E0-3FD74CFDE84A}" dt="2025-03-06T18:46:31.796" v="39" actId="1076"/>
          <ac:spMkLst>
            <pc:docMk/>
            <pc:sldMk cId="810637578" sldId="263"/>
            <ac:spMk id="36" creationId="{61F725B3-72D9-2F4A-317E-CF50B6717014}"/>
          </ac:spMkLst>
        </pc:spChg>
        <pc:spChg chg="mod">
          <ac:chgData name="Farha Shireen" userId="K9hHn9oINz5vZ9EtNhWdkbocU8fYfQRPeYvfmnVYJ7Q=" providerId="None" clId="Web-{6DE972A5-80CE-4E70-B9E0-3FD74CFDE84A}" dt="2025-03-06T18:50:57.327" v="56" actId="1076"/>
          <ac:spMkLst>
            <pc:docMk/>
            <pc:sldMk cId="810637578" sldId="263"/>
            <ac:spMk id="38" creationId="{8E5015FF-F211-562D-8964-40A7D926CFF2}"/>
          </ac:spMkLst>
        </pc:spChg>
        <pc:spChg chg="mod">
          <ac:chgData name="Farha Shireen" userId="K9hHn9oINz5vZ9EtNhWdkbocU8fYfQRPeYvfmnVYJ7Q=" providerId="None" clId="Web-{6DE972A5-80CE-4E70-B9E0-3FD74CFDE84A}" dt="2025-03-06T18:46:32.234" v="42" actId="1076"/>
          <ac:spMkLst>
            <pc:docMk/>
            <pc:sldMk cId="810637578" sldId="263"/>
            <ac:spMk id="39" creationId="{1BB69CEA-8D8B-A4FD-93BD-5FA530EA37D7}"/>
          </ac:spMkLst>
        </pc:spChg>
        <pc:spChg chg="mod">
          <ac:chgData name="Farha Shireen" userId="K9hHn9oINz5vZ9EtNhWdkbocU8fYfQRPeYvfmnVYJ7Q=" providerId="None" clId="Web-{6DE972A5-80CE-4E70-B9E0-3FD74CFDE84A}" dt="2025-03-06T18:46:32.390" v="43" actId="1076"/>
          <ac:spMkLst>
            <pc:docMk/>
            <pc:sldMk cId="810637578" sldId="263"/>
            <ac:spMk id="40" creationId="{586908C8-A80F-26A9-5444-7B8EDE5DD7C1}"/>
          </ac:spMkLst>
        </pc:spChg>
        <pc:spChg chg="mod">
          <ac:chgData name="Farha Shireen" userId="K9hHn9oINz5vZ9EtNhWdkbocU8fYfQRPeYvfmnVYJ7Q=" providerId="None" clId="Web-{6DE972A5-80CE-4E70-B9E0-3FD74CFDE84A}" dt="2025-03-06T18:46:32.546" v="44" actId="1076"/>
          <ac:spMkLst>
            <pc:docMk/>
            <pc:sldMk cId="810637578" sldId="263"/>
            <ac:spMk id="41" creationId="{916027A0-46FA-9047-D46C-A9D1352A0B91}"/>
          </ac:spMkLst>
        </pc:spChg>
        <pc:spChg chg="mod">
          <ac:chgData name="Farha Shireen" userId="K9hHn9oINz5vZ9EtNhWdkbocU8fYfQRPeYvfmnVYJ7Q=" providerId="None" clId="Web-{6DE972A5-80CE-4E70-B9E0-3FD74CFDE84A}" dt="2025-03-06T18:50:03.686" v="48" actId="1076"/>
          <ac:spMkLst>
            <pc:docMk/>
            <pc:sldMk cId="810637578" sldId="263"/>
            <ac:spMk id="42" creationId="{AB35A3B5-8C6B-4D74-B51E-09AEEAB2B56B}"/>
          </ac:spMkLst>
        </pc:spChg>
        <pc:spChg chg="mod">
          <ac:chgData name="Farha Shireen" userId="K9hHn9oINz5vZ9EtNhWdkbocU8fYfQRPeYvfmnVYJ7Q=" providerId="None" clId="Web-{6DE972A5-80CE-4E70-B9E0-3FD74CFDE84A}" dt="2025-03-06T18:50:10.186" v="49" actId="1076"/>
          <ac:spMkLst>
            <pc:docMk/>
            <pc:sldMk cId="810637578" sldId="263"/>
            <ac:spMk id="43" creationId="{8AF17DBA-7AFC-10E1-F1C6-FCC2122CC960}"/>
          </ac:spMkLst>
        </pc:spChg>
        <pc:spChg chg="mod">
          <ac:chgData name="Farha Shireen" userId="K9hHn9oINz5vZ9EtNhWdkbocU8fYfQRPeYvfmnVYJ7Q=" providerId="None" clId="Web-{6DE972A5-80CE-4E70-B9E0-3FD74CFDE84A}" dt="2025-03-06T18:50:47.858" v="54" actId="1076"/>
          <ac:spMkLst>
            <pc:docMk/>
            <pc:sldMk cId="810637578" sldId="263"/>
            <ac:spMk id="45" creationId="{5F69154B-9145-BDC6-96D4-3D313DBD9140}"/>
          </ac:spMkLst>
        </pc:spChg>
        <pc:spChg chg="mod">
          <ac:chgData name="Farha Shireen" userId="K9hHn9oINz5vZ9EtNhWdkbocU8fYfQRPeYvfmnVYJ7Q=" providerId="None" clId="Web-{6DE972A5-80CE-4E70-B9E0-3FD74CFDE84A}" dt="2025-03-06T18:52:16.358" v="60" actId="20577"/>
          <ac:spMkLst>
            <pc:docMk/>
            <pc:sldMk cId="810637578" sldId="263"/>
            <ac:spMk id="49" creationId="{607C8AF3-E134-057E-35D7-F14B9338B342}"/>
          </ac:spMkLst>
        </pc:spChg>
        <pc:graphicFrameChg chg="add del mod">
          <ac:chgData name="Farha Shireen" userId="K9hHn9oINz5vZ9EtNhWdkbocU8fYfQRPeYvfmnVYJ7Q=" providerId="None" clId="Web-{6DE972A5-80CE-4E70-B9E0-3FD74CFDE84A}" dt="2025-03-06T18:23:51.833" v="17"/>
          <ac:graphicFrameMkLst>
            <pc:docMk/>
            <pc:sldMk cId="810637578" sldId="263"/>
            <ac:graphicFrameMk id="11" creationId="{B1F2E804-AD64-60B0-AB1A-658C353FC737}"/>
          </ac:graphicFrameMkLst>
        </pc:graphicFrameChg>
        <pc:graphicFrameChg chg="add del mod">
          <ac:chgData name="Farha Shireen" userId="K9hHn9oINz5vZ9EtNhWdkbocU8fYfQRPeYvfmnVYJ7Q=" providerId="None" clId="Web-{6DE972A5-80CE-4E70-B9E0-3FD74CFDE84A}" dt="2025-03-06T18:24:45.598" v="20"/>
          <ac:graphicFrameMkLst>
            <pc:docMk/>
            <pc:sldMk cId="810637578" sldId="263"/>
            <ac:graphicFrameMk id="15" creationId="{F2CC98FE-1222-0671-656F-75F8DBAB233D}"/>
          </ac:graphicFrameMkLst>
        </pc:graphicFrameChg>
        <pc:graphicFrameChg chg="mod">
          <ac:chgData name="Farha Shireen" userId="K9hHn9oINz5vZ9EtNhWdkbocU8fYfQRPeYvfmnVYJ7Q=" providerId="None" clId="Web-{6DE972A5-80CE-4E70-B9E0-3FD74CFDE84A}" dt="2025-03-06T18:52:22.014" v="61" actId="1076"/>
          <ac:graphicFrameMkLst>
            <pc:docMk/>
            <pc:sldMk cId="810637578" sldId="263"/>
            <ac:graphicFrameMk id="22" creationId="{5B594D09-B3D6-9151-40B6-4E402FEABE42}"/>
          </ac:graphicFrameMkLst>
        </pc:graphicFrameChg>
        <pc:graphicFrameChg chg="add mod modGraphic">
          <ac:chgData name="Farha Shireen" userId="K9hHn9oINz5vZ9EtNhWdkbocU8fYfQRPeYvfmnVYJ7Q=" providerId="None" clId="Web-{6DE972A5-80CE-4E70-B9E0-3FD74CFDE84A}" dt="2025-03-06T18:39:00.814" v="26"/>
          <ac:graphicFrameMkLst>
            <pc:docMk/>
            <pc:sldMk cId="810637578" sldId="263"/>
            <ac:graphicFrameMk id="24" creationId="{7274279B-F42A-9AD0-943B-BBB4F1D0EF0B}"/>
          </ac:graphicFrameMkLst>
        </pc:graphicFrameChg>
        <pc:graphicFrameChg chg="modGraphic">
          <ac:chgData name="Farha Shireen" userId="K9hHn9oINz5vZ9EtNhWdkbocU8fYfQRPeYvfmnVYJ7Q=" providerId="None" clId="Web-{6DE972A5-80CE-4E70-B9E0-3FD74CFDE84A}" dt="2025-03-06T18:37:12.033" v="24"/>
          <ac:graphicFrameMkLst>
            <pc:docMk/>
            <pc:sldMk cId="810637578" sldId="263"/>
            <ac:graphicFrameMk id="86" creationId="{37A66713-3480-02AB-D089-0BFF1BDD38BA}"/>
          </ac:graphicFrameMkLst>
        </pc:graphicFrameChg>
        <pc:graphicFrameChg chg="del mod modGraphic">
          <ac:chgData name="Farha Shireen" userId="K9hHn9oINz5vZ9EtNhWdkbocU8fYfQRPeYvfmnVYJ7Q=" providerId="None" clId="Web-{6DE972A5-80CE-4E70-B9E0-3FD74CFDE84A}" dt="2025-03-06T18:21:39.224" v="15"/>
          <ac:graphicFrameMkLst>
            <pc:docMk/>
            <pc:sldMk cId="810637578" sldId="263"/>
            <ac:graphicFrameMk id="137" creationId="{D0909573-BD8B-F1EF-2A78-5D0C57910215}"/>
          </ac:graphicFrameMkLst>
        </pc:graphicFrameChg>
        <pc:picChg chg="add mod">
          <ac:chgData name="Farha Shireen" userId="K9hHn9oINz5vZ9EtNhWdkbocU8fYfQRPeYvfmnVYJ7Q=" providerId="None" clId="Web-{6DE972A5-80CE-4E70-B9E0-3FD74CFDE84A}" dt="2025-03-06T18:54:45.388" v="72" actId="14100"/>
          <ac:picMkLst>
            <pc:docMk/>
            <pc:sldMk cId="810637578" sldId="263"/>
            <ac:picMk id="14" creationId="{900E130A-D877-0C2B-35B0-32ABB9065263}"/>
          </ac:picMkLst>
        </pc:picChg>
        <pc:picChg chg="mod">
          <ac:chgData name="Farha Shireen" userId="K9hHn9oINz5vZ9EtNhWdkbocU8fYfQRPeYvfmnVYJ7Q=" providerId="None" clId="Web-{6DE972A5-80CE-4E70-B9E0-3FD74CFDE84A}" dt="2025-03-06T18:46:30.562" v="31" actId="1076"/>
          <ac:picMkLst>
            <pc:docMk/>
            <pc:sldMk cId="810637578" sldId="263"/>
            <ac:picMk id="16" creationId="{0625277F-6D8C-8DFF-9705-C4FABB0C845A}"/>
          </ac:picMkLst>
        </pc:picChg>
        <pc:picChg chg="mod">
          <ac:chgData name="Farha Shireen" userId="K9hHn9oINz5vZ9EtNhWdkbocU8fYfQRPeYvfmnVYJ7Q=" providerId="None" clId="Web-{6DE972A5-80CE-4E70-B9E0-3FD74CFDE84A}" dt="2025-03-06T18:50:11.077" v="50" actId="1076"/>
          <ac:picMkLst>
            <pc:docMk/>
            <pc:sldMk cId="810637578" sldId="263"/>
            <ac:picMk id="28" creationId="{F8F74898-DD82-7EBE-304E-9C8EEDC013C6}"/>
          </ac:picMkLst>
        </pc:picChg>
        <pc:picChg chg="mod">
          <ac:chgData name="Farha Shireen" userId="K9hHn9oINz5vZ9EtNhWdkbocU8fYfQRPeYvfmnVYJ7Q=" providerId="None" clId="Web-{6DE972A5-80CE-4E70-B9E0-3FD74CFDE84A}" dt="2025-03-06T18:50:25.686" v="52" actId="1076"/>
          <ac:picMkLst>
            <pc:docMk/>
            <pc:sldMk cId="810637578" sldId="263"/>
            <ac:picMk id="30" creationId="{03E30BE5-B3CB-A039-9301-F5CFE726B255}"/>
          </ac:picMkLst>
        </pc:picChg>
        <pc:picChg chg="mod">
          <ac:chgData name="Farha Shireen" userId="K9hHn9oINz5vZ9EtNhWdkbocU8fYfQRPeYvfmnVYJ7Q=" providerId="None" clId="Web-{6DE972A5-80CE-4E70-B9E0-3FD74CFDE84A}" dt="2025-03-06T18:46:31.640" v="38" actId="1076"/>
          <ac:picMkLst>
            <pc:docMk/>
            <pc:sldMk cId="810637578" sldId="263"/>
            <ac:picMk id="34" creationId="{6F317624-54BB-CAB1-F192-71909F611D1B}"/>
          </ac:picMkLst>
        </pc:picChg>
        <pc:picChg chg="mod">
          <ac:chgData name="Farha Shireen" userId="K9hHn9oINz5vZ9EtNhWdkbocU8fYfQRPeYvfmnVYJ7Q=" providerId="None" clId="Web-{6DE972A5-80CE-4E70-B9E0-3FD74CFDE84A}" dt="2025-03-06T19:24:14.662" v="119" actId="14100"/>
          <ac:picMkLst>
            <pc:docMk/>
            <pc:sldMk cId="810637578" sldId="263"/>
            <ac:picMk id="35" creationId="{08547C07-D139-E453-6F31-D8D225673354}"/>
          </ac:picMkLst>
        </pc:picChg>
        <pc:picChg chg="mod">
          <ac:chgData name="Farha Shireen" userId="K9hHn9oINz5vZ9EtNhWdkbocU8fYfQRPeYvfmnVYJ7Q=" providerId="None" clId="Web-{6DE972A5-80CE-4E70-B9E0-3FD74CFDE84A}" dt="2025-03-06T18:50:48.327" v="55" actId="1076"/>
          <ac:picMkLst>
            <pc:docMk/>
            <pc:sldMk cId="810637578" sldId="263"/>
            <ac:picMk id="37" creationId="{5431A585-6875-16F5-88DB-A9E4E339787C}"/>
          </ac:picMkLst>
        </pc:picChg>
        <pc:picChg chg="mod">
          <ac:chgData name="Farha Shireen" userId="K9hHn9oINz5vZ9EtNhWdkbocU8fYfQRPeYvfmnVYJ7Q=" providerId="None" clId="Web-{6DE972A5-80CE-4E70-B9E0-3FD74CFDE84A}" dt="2025-03-06T19:24:18.615" v="120" actId="1076"/>
          <ac:picMkLst>
            <pc:docMk/>
            <pc:sldMk cId="810637578" sldId="263"/>
            <ac:picMk id="50" creationId="{C96F51AA-4548-58D2-2517-EF0E6B203CE2}"/>
          </ac:picMkLst>
        </pc:picChg>
        <pc:picChg chg="del mod">
          <ac:chgData name="Farha Shireen" userId="K9hHn9oINz5vZ9EtNhWdkbocU8fYfQRPeYvfmnVYJ7Q=" providerId="None" clId="Web-{6DE972A5-80CE-4E70-B9E0-3FD74CFDE84A}" dt="2025-03-06T19:25:20.286" v="126"/>
          <ac:picMkLst>
            <pc:docMk/>
            <pc:sldMk cId="810637578" sldId="263"/>
            <ac:picMk id="59" creationId="{B78321B7-5E39-1C22-6A23-BC66110E5587}"/>
          </ac:picMkLst>
        </pc:picChg>
        <pc:picChg chg="mod">
          <ac:chgData name="Farha Shireen" userId="K9hHn9oINz5vZ9EtNhWdkbocU8fYfQRPeYvfmnVYJ7Q=" providerId="None" clId="Web-{6DE972A5-80CE-4E70-B9E0-3FD74CFDE84A}" dt="2025-03-06T19:24:29.880" v="122" actId="1076"/>
          <ac:picMkLst>
            <pc:docMk/>
            <pc:sldMk cId="810637578" sldId="263"/>
            <ac:picMk id="60" creationId="{0BBA1ACB-7634-25CE-7859-8E970AC97314}"/>
          </ac:picMkLst>
        </pc:picChg>
        <pc:picChg chg="mod">
          <ac:chgData name="Farha Shireen" userId="K9hHn9oINz5vZ9EtNhWdkbocU8fYfQRPeYvfmnVYJ7Q=" providerId="None" clId="Web-{6DE972A5-80CE-4E70-B9E0-3FD74CFDE84A}" dt="2025-03-06T18:54:53.216" v="73" actId="1076"/>
          <ac:picMkLst>
            <pc:docMk/>
            <pc:sldMk cId="810637578" sldId="263"/>
            <ac:picMk id="66" creationId="{F7F08560-584E-DBC2-AC07-F5BCA7BFD78F}"/>
          </ac:picMkLst>
        </pc:picChg>
        <pc:picChg chg="mod">
          <ac:chgData name="Farha Shireen" userId="K9hHn9oINz5vZ9EtNhWdkbocU8fYfQRPeYvfmnVYJ7Q=" providerId="None" clId="Web-{6DE972A5-80CE-4E70-B9E0-3FD74CFDE84A}" dt="2025-03-06T19:24:37.412" v="125" actId="1076"/>
          <ac:picMkLst>
            <pc:docMk/>
            <pc:sldMk cId="810637578" sldId="263"/>
            <ac:picMk id="69" creationId="{6E05C199-27CC-5AEC-6B01-C46E9B3D346F}"/>
          </ac:picMkLst>
        </pc:picChg>
        <pc:picChg chg="mod">
          <ac:chgData name="Farha Shireen" userId="K9hHn9oINz5vZ9EtNhWdkbocU8fYfQRPeYvfmnVYJ7Q=" providerId="None" clId="Web-{6DE972A5-80CE-4E70-B9E0-3FD74CFDE84A}" dt="2025-03-06T19:24:34.115" v="123" actId="1076"/>
          <ac:picMkLst>
            <pc:docMk/>
            <pc:sldMk cId="810637578" sldId="263"/>
            <ac:picMk id="70" creationId="{DCFDB0B7-1FE1-CEF7-1A7E-C030240317BC}"/>
          </ac:picMkLst>
        </pc:picChg>
        <pc:picChg chg="mod">
          <ac:chgData name="Farha Shireen" userId="K9hHn9oINz5vZ9EtNhWdkbocU8fYfQRPeYvfmnVYJ7Q=" providerId="None" clId="Web-{6DE972A5-80CE-4E70-B9E0-3FD74CFDE84A}" dt="2025-03-06T19:24:25.537" v="121" actId="1076"/>
          <ac:picMkLst>
            <pc:docMk/>
            <pc:sldMk cId="810637578" sldId="263"/>
            <ac:picMk id="78" creationId="{A1AF08F1-A20A-7165-4924-4A52B52E801B}"/>
          </ac:picMkLst>
        </pc:picChg>
        <pc:picChg chg="mod">
          <ac:chgData name="Farha Shireen" userId="K9hHn9oINz5vZ9EtNhWdkbocU8fYfQRPeYvfmnVYJ7Q=" providerId="None" clId="Web-{6DE972A5-80CE-4E70-B9E0-3FD74CFDE84A}" dt="2025-03-06T19:24:34.615" v="124" actId="1076"/>
          <ac:picMkLst>
            <pc:docMk/>
            <pc:sldMk cId="810637578" sldId="263"/>
            <ac:picMk id="81" creationId="{ACD449D0-26CB-2033-7ED0-A7E65F9095C5}"/>
          </ac:picMkLst>
        </pc:picChg>
        <pc:cxnChg chg="mod">
          <ac:chgData name="Farha Shireen" userId="K9hHn9oINz5vZ9EtNhWdkbocU8fYfQRPeYvfmnVYJ7Q=" providerId="None" clId="Web-{6DE972A5-80CE-4E70-B9E0-3FD74CFDE84A}" dt="2025-03-06T18:51:19.733" v="57" actId="1076"/>
          <ac:cxnSpMkLst>
            <pc:docMk/>
            <pc:sldMk cId="810637578" sldId="263"/>
            <ac:cxnSpMk id="53" creationId="{52ED3DD2-85CF-8C89-45DB-46A78137575D}"/>
          </ac:cxnSpMkLst>
        </pc:cxnChg>
        <pc:cxnChg chg="mod">
          <ac:chgData name="Farha Shireen" userId="K9hHn9oINz5vZ9EtNhWdkbocU8fYfQRPeYvfmnVYJ7Q=" providerId="None" clId="Web-{6DE972A5-80CE-4E70-B9E0-3FD74CFDE84A}" dt="2025-03-06T19:21:00.584" v="97" actId="1076"/>
          <ac:cxnSpMkLst>
            <pc:docMk/>
            <pc:sldMk cId="810637578" sldId="263"/>
            <ac:cxnSpMk id="88" creationId="{541FA767-FE93-EA64-8867-B2C5F8AD6569}"/>
          </ac:cxnSpMkLst>
        </pc:cxnChg>
        <pc:extLst>
          <p:ext xmlns:p="http://schemas.openxmlformats.org/presentationml/2006/main" uri="{D6D511B9-2390-475A-947B-AFAB55BFBCF1}">
            <pc226:cmChg xmlns:pc226="http://schemas.microsoft.com/office/powerpoint/2022/06/main/command" chg="mod">
              <pc226:chgData name="Farha Shireen" userId="K9hHn9oINz5vZ9EtNhWdkbocU8fYfQRPeYvfmnVYJ7Q=" providerId="None" clId="Web-{6DE972A5-80CE-4E70-B9E0-3FD74CFDE84A}" dt="2025-03-06T18:52:16.358" v="60" actId="20577"/>
              <pc2:cmMkLst xmlns:pc2="http://schemas.microsoft.com/office/powerpoint/2019/9/main/command">
                <pc:docMk/>
                <pc:sldMk cId="810637578" sldId="263"/>
                <pc2:cmMk id="{E0558DB1-E828-415A-BF3F-74D97FC8535A}"/>
              </pc2:cmMkLst>
            </pc226:cmChg>
          </p:ext>
        </pc:extLst>
      </pc:sldChg>
    </pc:docChg>
  </pc:docChgLst>
  <pc:docChgLst>
    <pc:chgData name="Tanvir Ahmed Farook" userId="TCYBb3uSJ+bdHYXHvL8inqj6VAMXLD9G89AUjqTPq2w=" providerId="None" clId="Web-{4099D052-EE8C-48CB-97D8-9D4455F45FB1}"/>
    <pc:docChg chg="modSld">
      <pc:chgData name="Tanvir Ahmed Farook" userId="TCYBb3uSJ+bdHYXHvL8inqj6VAMXLD9G89AUjqTPq2w=" providerId="None" clId="Web-{4099D052-EE8C-48CB-97D8-9D4455F45FB1}" dt="2025-03-06T21:16:32.703" v="56" actId="14100"/>
      <pc:docMkLst>
        <pc:docMk/>
      </pc:docMkLst>
      <pc:sldChg chg="addSp delSp modSp">
        <pc:chgData name="Tanvir Ahmed Farook" userId="TCYBb3uSJ+bdHYXHvL8inqj6VAMXLD9G89AUjqTPq2w=" providerId="None" clId="Web-{4099D052-EE8C-48CB-97D8-9D4455F45FB1}" dt="2025-03-06T21:16:32.703" v="56" actId="14100"/>
        <pc:sldMkLst>
          <pc:docMk/>
          <pc:sldMk cId="810637578" sldId="263"/>
        </pc:sldMkLst>
        <pc:picChg chg="mod">
          <ac:chgData name="Tanvir Ahmed Farook" userId="TCYBb3uSJ+bdHYXHvL8inqj6VAMXLD9G89AUjqTPq2w=" providerId="None" clId="Web-{4099D052-EE8C-48CB-97D8-9D4455F45FB1}" dt="2025-03-06T21:16:32.703" v="56" actId="14100"/>
          <ac:picMkLst>
            <pc:docMk/>
            <pc:sldMk cId="810637578" sldId="263"/>
            <ac:picMk id="4" creationId="{486A0C58-EC79-1171-04D5-69D65D61C307}"/>
          </ac:picMkLst>
        </pc:picChg>
        <pc:picChg chg="del">
          <ac:chgData name="Tanvir Ahmed Farook" userId="TCYBb3uSJ+bdHYXHvL8inqj6VAMXLD9G89AUjqTPq2w=" providerId="None" clId="Web-{4099D052-EE8C-48CB-97D8-9D4455F45FB1}" dt="2025-03-06T21:11:05.461" v="0"/>
          <ac:picMkLst>
            <pc:docMk/>
            <pc:sldMk cId="810637578" sldId="263"/>
            <ac:picMk id="85" creationId="{68C5030D-DD6A-FAB4-1980-5C1A5FD0E30E}"/>
          </ac:picMkLst>
        </pc:picChg>
        <pc:picChg chg="add mod">
          <ac:chgData name="Tanvir Ahmed Farook" userId="TCYBb3uSJ+bdHYXHvL8inqj6VAMXLD9G89AUjqTPq2w=" providerId="None" clId="Web-{4099D052-EE8C-48CB-97D8-9D4455F45FB1}" dt="2025-03-06T21:14:16.622" v="42" actId="1076"/>
          <ac:picMkLst>
            <pc:docMk/>
            <pc:sldMk cId="810637578" sldId="263"/>
            <ac:picMk id="96" creationId="{8A1E435C-3168-AB10-5837-83EECFA6D9F8}"/>
          </ac:picMkLst>
        </pc:picChg>
        <pc:picChg chg="add mod">
          <ac:chgData name="Tanvir Ahmed Farook" userId="TCYBb3uSJ+bdHYXHvL8inqj6VAMXLD9G89AUjqTPq2w=" providerId="None" clId="Web-{4099D052-EE8C-48CB-97D8-9D4455F45FB1}" dt="2025-03-06T21:16:12.125" v="55" actId="1076"/>
          <ac:picMkLst>
            <pc:docMk/>
            <pc:sldMk cId="810637578" sldId="263"/>
            <ac:picMk id="104" creationId="{FC64191F-787D-F12F-E95D-E6A87AAFD11E}"/>
          </ac:picMkLst>
        </pc:picChg>
        <pc:picChg chg="del">
          <ac:chgData name="Tanvir Ahmed Farook" userId="TCYBb3uSJ+bdHYXHvL8inqj6VAMXLD9G89AUjqTPq2w=" providerId="None" clId="Web-{4099D052-EE8C-48CB-97D8-9D4455F45FB1}" dt="2025-03-06T21:11:05.461" v="7"/>
          <ac:picMkLst>
            <pc:docMk/>
            <pc:sldMk cId="810637578" sldId="263"/>
            <ac:picMk id="113" creationId="{F18D496A-11C0-2F8D-34D1-C357C346DC53}"/>
          </ac:picMkLst>
        </pc:picChg>
        <pc:picChg chg="del">
          <ac:chgData name="Tanvir Ahmed Farook" userId="TCYBb3uSJ+bdHYXHvL8inqj6VAMXLD9G89AUjqTPq2w=" providerId="None" clId="Web-{4099D052-EE8C-48CB-97D8-9D4455F45FB1}" dt="2025-03-06T21:11:05.461" v="6"/>
          <ac:picMkLst>
            <pc:docMk/>
            <pc:sldMk cId="810637578" sldId="263"/>
            <ac:picMk id="119" creationId="{807D2418-034A-EAC4-2825-D4DB770A0295}"/>
          </ac:picMkLst>
        </pc:picChg>
        <pc:picChg chg="add mod">
          <ac:chgData name="Tanvir Ahmed Farook" userId="TCYBb3uSJ+bdHYXHvL8inqj6VAMXLD9G89AUjqTPq2w=" providerId="None" clId="Web-{4099D052-EE8C-48CB-97D8-9D4455F45FB1}" dt="2025-03-06T21:16:08.718" v="54" actId="1076"/>
          <ac:picMkLst>
            <pc:docMk/>
            <pc:sldMk cId="810637578" sldId="263"/>
            <ac:picMk id="126" creationId="{181ED16E-A00F-F235-9D93-37F520A31C96}"/>
          </ac:picMkLst>
        </pc:picChg>
        <pc:picChg chg="del">
          <ac:chgData name="Tanvir Ahmed Farook" userId="TCYBb3uSJ+bdHYXHvL8inqj6VAMXLD9G89AUjqTPq2w=" providerId="None" clId="Web-{4099D052-EE8C-48CB-97D8-9D4455F45FB1}" dt="2025-03-06T21:11:05.461" v="5"/>
          <ac:picMkLst>
            <pc:docMk/>
            <pc:sldMk cId="810637578" sldId="263"/>
            <ac:picMk id="135" creationId="{B51AE199-CA1B-61A5-524E-4E32922D6E5C}"/>
          </ac:picMkLst>
        </pc:picChg>
        <pc:picChg chg="add mod">
          <ac:chgData name="Tanvir Ahmed Farook" userId="TCYBb3uSJ+bdHYXHvL8inqj6VAMXLD9G89AUjqTPq2w=" providerId="None" clId="Web-{4099D052-EE8C-48CB-97D8-9D4455F45FB1}" dt="2025-03-06T21:14:24.622" v="43" actId="1076"/>
          <ac:picMkLst>
            <pc:docMk/>
            <pc:sldMk cId="810637578" sldId="263"/>
            <ac:picMk id="136" creationId="{DDDEC562-1A15-82CB-8875-D1F5928D56B3}"/>
          </ac:picMkLst>
        </pc:picChg>
        <pc:picChg chg="del">
          <ac:chgData name="Tanvir Ahmed Farook" userId="TCYBb3uSJ+bdHYXHvL8inqj6VAMXLD9G89AUjqTPq2w=" providerId="None" clId="Web-{4099D052-EE8C-48CB-97D8-9D4455F45FB1}" dt="2025-03-06T21:11:05.461" v="4"/>
          <ac:picMkLst>
            <pc:docMk/>
            <pc:sldMk cId="810637578" sldId="263"/>
            <ac:picMk id="137" creationId="{FD36B874-DD99-19AC-936B-E99ECCB3DD1D}"/>
          </ac:picMkLst>
        </pc:picChg>
        <pc:picChg chg="del">
          <ac:chgData name="Tanvir Ahmed Farook" userId="TCYBb3uSJ+bdHYXHvL8inqj6VAMXLD9G89AUjqTPq2w=" providerId="None" clId="Web-{4099D052-EE8C-48CB-97D8-9D4455F45FB1}" dt="2025-03-06T21:11:05.461" v="3"/>
          <ac:picMkLst>
            <pc:docMk/>
            <pc:sldMk cId="810637578" sldId="263"/>
            <ac:picMk id="138" creationId="{6CDE29A6-44D3-349D-1214-56EFAAE8F226}"/>
          </ac:picMkLst>
        </pc:picChg>
        <pc:picChg chg="del">
          <ac:chgData name="Tanvir Ahmed Farook" userId="TCYBb3uSJ+bdHYXHvL8inqj6VAMXLD9G89AUjqTPq2w=" providerId="None" clId="Web-{4099D052-EE8C-48CB-97D8-9D4455F45FB1}" dt="2025-03-06T21:11:05.461" v="2"/>
          <ac:picMkLst>
            <pc:docMk/>
            <pc:sldMk cId="810637578" sldId="263"/>
            <ac:picMk id="139" creationId="{6166D332-7B39-7162-75E9-D849EFBFBBA0}"/>
          </ac:picMkLst>
        </pc:picChg>
        <pc:picChg chg="del">
          <ac:chgData name="Tanvir Ahmed Farook" userId="TCYBb3uSJ+bdHYXHvL8inqj6VAMXLD9G89AUjqTPq2w=" providerId="None" clId="Web-{4099D052-EE8C-48CB-97D8-9D4455F45FB1}" dt="2025-03-06T21:11:05.461" v="1"/>
          <ac:picMkLst>
            <pc:docMk/>
            <pc:sldMk cId="810637578" sldId="263"/>
            <ac:picMk id="140" creationId="{89BEF956-BD3D-ACEA-2539-B3B702E603DB}"/>
          </ac:picMkLst>
        </pc:picChg>
        <pc:picChg chg="add mod">
          <ac:chgData name="Tanvir Ahmed Farook" userId="TCYBb3uSJ+bdHYXHvL8inqj6VAMXLD9G89AUjqTPq2w=" providerId="None" clId="Web-{4099D052-EE8C-48CB-97D8-9D4455F45FB1}" dt="2025-03-06T21:16:05.125" v="53" actId="1076"/>
          <ac:picMkLst>
            <pc:docMk/>
            <pc:sldMk cId="810637578" sldId="263"/>
            <ac:picMk id="141" creationId="{79FB5AEB-3DAD-1FFE-EEE8-34DE8B2D4409}"/>
          </ac:picMkLst>
        </pc:picChg>
        <pc:picChg chg="add mod">
          <ac:chgData name="Tanvir Ahmed Farook" userId="TCYBb3uSJ+bdHYXHvL8inqj6VAMXLD9G89AUjqTPq2w=" providerId="None" clId="Web-{4099D052-EE8C-48CB-97D8-9D4455F45FB1}" dt="2025-03-06T21:14:28.028" v="44" actId="1076"/>
          <ac:picMkLst>
            <pc:docMk/>
            <pc:sldMk cId="810637578" sldId="263"/>
            <ac:picMk id="143" creationId="{AEF9494A-AD3C-E933-30A9-D6F8742DB88D}"/>
          </ac:picMkLst>
        </pc:picChg>
        <pc:picChg chg="add mod">
          <ac:chgData name="Tanvir Ahmed Farook" userId="TCYBb3uSJ+bdHYXHvL8inqj6VAMXLD9G89AUjqTPq2w=" providerId="None" clId="Web-{4099D052-EE8C-48CB-97D8-9D4455F45FB1}" dt="2025-03-06T21:14:07.903" v="41" actId="1076"/>
          <ac:picMkLst>
            <pc:docMk/>
            <pc:sldMk cId="810637578" sldId="263"/>
            <ac:picMk id="145" creationId="{0F46F35B-A7FD-2D13-1A05-D60E19736906}"/>
          </ac:picMkLst>
        </pc:picChg>
        <pc:picChg chg="add mod">
          <ac:chgData name="Tanvir Ahmed Farook" userId="TCYBb3uSJ+bdHYXHvL8inqj6VAMXLD9G89AUjqTPq2w=" providerId="None" clId="Web-{4099D052-EE8C-48CB-97D8-9D4455F45FB1}" dt="2025-03-06T21:15:21.827" v="49" actId="1076"/>
          <ac:picMkLst>
            <pc:docMk/>
            <pc:sldMk cId="810637578" sldId="263"/>
            <ac:picMk id="146" creationId="{42F02FF9-5933-F2E5-3055-58B04F0127B2}"/>
          </ac:picMkLst>
        </pc:picChg>
      </pc:sldChg>
    </pc:docChg>
  </pc:docChgLst>
  <pc:docChgLst>
    <pc:chgData name="Tanvir Ahmed Farook" userId="TCYBb3uSJ+bdHYXHvL8inqj6VAMXLD9G89AUjqTPq2w=" providerId="None" clId="Web-{67063D24-C40E-4EFE-8B58-7EF1DF81C91B}"/>
    <pc:docChg chg="modSld">
      <pc:chgData name="Tanvir Ahmed Farook" userId="TCYBb3uSJ+bdHYXHvL8inqj6VAMXLD9G89AUjqTPq2w=" providerId="None" clId="Web-{67063D24-C40E-4EFE-8B58-7EF1DF81C91B}" dt="2025-03-06T19:40:49.487" v="214"/>
      <pc:docMkLst>
        <pc:docMk/>
      </pc:docMkLst>
      <pc:sldChg chg="addSp delSp modSp">
        <pc:chgData name="Tanvir Ahmed Farook" userId="TCYBb3uSJ+bdHYXHvL8inqj6VAMXLD9G89AUjqTPq2w=" providerId="None" clId="Web-{67063D24-C40E-4EFE-8B58-7EF1DF81C91B}" dt="2025-03-06T19:40:49.487" v="214"/>
        <pc:sldMkLst>
          <pc:docMk/>
          <pc:sldMk cId="810637578" sldId="263"/>
        </pc:sldMkLst>
        <pc:spChg chg="mod">
          <ac:chgData name="Tanvir Ahmed Farook" userId="TCYBb3uSJ+bdHYXHvL8inqj6VAMXLD9G89AUjqTPq2w=" providerId="None" clId="Web-{67063D24-C40E-4EFE-8B58-7EF1DF81C91B}" dt="2025-03-06T19:03:46.411" v="36" actId="1076"/>
          <ac:spMkLst>
            <pc:docMk/>
            <pc:sldMk cId="810637578" sldId="263"/>
            <ac:spMk id="5" creationId="{D4253DBF-C5E1-107A-A92F-3342904DDE9F}"/>
          </ac:spMkLst>
        </pc:spChg>
        <pc:spChg chg="mod">
          <ac:chgData name="Tanvir Ahmed Farook" userId="TCYBb3uSJ+bdHYXHvL8inqj6VAMXLD9G89AUjqTPq2w=" providerId="None" clId="Web-{67063D24-C40E-4EFE-8B58-7EF1DF81C91B}" dt="2025-03-06T19:33:26.441" v="206" actId="14100"/>
          <ac:spMkLst>
            <pc:docMk/>
            <pc:sldMk cId="810637578" sldId="263"/>
            <ac:spMk id="7" creationId="{299ECDEE-127D-9631-CFAC-5C6299E4ECA3}"/>
          </ac:spMkLst>
        </pc:spChg>
        <pc:spChg chg="mod">
          <ac:chgData name="Tanvir Ahmed Farook" userId="TCYBb3uSJ+bdHYXHvL8inqj6VAMXLD9G89AUjqTPq2w=" providerId="None" clId="Web-{67063D24-C40E-4EFE-8B58-7EF1DF81C91B}" dt="2025-03-06T18:15:01.904" v="2" actId="20577"/>
          <ac:spMkLst>
            <pc:docMk/>
            <pc:sldMk cId="810637578" sldId="263"/>
            <ac:spMk id="54" creationId="{96285D32-63D2-BBC3-B488-C151D1F0FA8F}"/>
          </ac:spMkLst>
        </pc:spChg>
        <pc:graphicFrameChg chg="mod modGraphic">
          <ac:chgData name="Tanvir Ahmed Farook" userId="TCYBb3uSJ+bdHYXHvL8inqj6VAMXLD9G89AUjqTPq2w=" providerId="None" clId="Web-{67063D24-C40E-4EFE-8B58-7EF1DF81C91B}" dt="2025-03-06T18:39:19.454" v="32"/>
          <ac:graphicFrameMkLst>
            <pc:docMk/>
            <pc:sldMk cId="810637578" sldId="263"/>
            <ac:graphicFrameMk id="22" creationId="{5B594D09-B3D6-9151-40B6-4E402FEABE42}"/>
          </ac:graphicFrameMkLst>
        </pc:graphicFrameChg>
        <pc:picChg chg="mod">
          <ac:chgData name="Tanvir Ahmed Farook" userId="TCYBb3uSJ+bdHYXHvL8inqj6VAMXLD9G89AUjqTPq2w=" providerId="None" clId="Web-{67063D24-C40E-4EFE-8B58-7EF1DF81C91B}" dt="2025-03-06T19:24:00.953" v="130" actId="14100"/>
          <ac:picMkLst>
            <pc:docMk/>
            <pc:sldMk cId="810637578" sldId="263"/>
            <ac:picMk id="4" creationId="{486A0C58-EC79-1171-04D5-69D65D61C307}"/>
          </ac:picMkLst>
        </pc:picChg>
        <pc:picChg chg="del">
          <ac:chgData name="Tanvir Ahmed Farook" userId="TCYBb3uSJ+bdHYXHvL8inqj6VAMXLD9G89AUjqTPq2w=" providerId="None" clId="Web-{67063D24-C40E-4EFE-8B58-7EF1DF81C91B}" dt="2025-03-06T19:36:50.620" v="208"/>
          <ac:picMkLst>
            <pc:docMk/>
            <pc:sldMk cId="810637578" sldId="263"/>
            <ac:picMk id="26" creationId="{2AE8269C-556B-4FB1-2053-3662EBC690EB}"/>
          </ac:picMkLst>
        </pc:picChg>
        <pc:picChg chg="add del mod modCrop">
          <ac:chgData name="Tanvir Ahmed Farook" userId="TCYBb3uSJ+bdHYXHvL8inqj6VAMXLD9G89AUjqTPq2w=" providerId="None" clId="Web-{67063D24-C40E-4EFE-8B58-7EF1DF81C91B}" dt="2025-03-06T19:11:21.848" v="96"/>
          <ac:picMkLst>
            <pc:docMk/>
            <pc:sldMk cId="810637578" sldId="263"/>
            <ac:picMk id="26" creationId="{842B5F4D-A7C6-07B0-C0CC-4FF58BD5289E}"/>
          </ac:picMkLst>
        </pc:picChg>
        <pc:picChg chg="add del mod modCrop">
          <ac:chgData name="Tanvir Ahmed Farook" userId="TCYBb3uSJ+bdHYXHvL8inqj6VAMXLD9G89AUjqTPq2w=" providerId="None" clId="Web-{67063D24-C40E-4EFE-8B58-7EF1DF81C91B}" dt="2025-03-06T19:29:57.605" v="172"/>
          <ac:picMkLst>
            <pc:docMk/>
            <pc:sldMk cId="810637578" sldId="263"/>
            <ac:picMk id="35" creationId="{08547C07-D139-E453-6F31-D8D225673354}"/>
          </ac:picMkLst>
        </pc:picChg>
        <pc:picChg chg="add del mod">
          <ac:chgData name="Tanvir Ahmed Farook" userId="TCYBb3uSJ+bdHYXHvL8inqj6VAMXLD9G89AUjqTPq2w=" providerId="None" clId="Web-{67063D24-C40E-4EFE-8B58-7EF1DF81C91B}" dt="2025-03-06T19:29:57.605" v="171"/>
          <ac:picMkLst>
            <pc:docMk/>
            <pc:sldMk cId="810637578" sldId="263"/>
            <ac:picMk id="50" creationId="{C96F51AA-4548-58D2-2517-EF0E6B203CE2}"/>
          </ac:picMkLst>
        </pc:picChg>
        <pc:picChg chg="mod">
          <ac:chgData name="Tanvir Ahmed Farook" userId="TCYBb3uSJ+bdHYXHvL8inqj6VAMXLD9G89AUjqTPq2w=" providerId="None" clId="Web-{67063D24-C40E-4EFE-8B58-7EF1DF81C91B}" dt="2025-03-06T19:24:15.609" v="133" actId="14100"/>
          <ac:picMkLst>
            <pc:docMk/>
            <pc:sldMk cId="810637578" sldId="263"/>
            <ac:picMk id="59" creationId="{B78321B7-5E39-1C22-6A23-BC66110E5587}"/>
          </ac:picMkLst>
        </pc:picChg>
        <pc:picChg chg="add del mod">
          <ac:chgData name="Tanvir Ahmed Farook" userId="TCYBb3uSJ+bdHYXHvL8inqj6VAMXLD9G89AUjqTPq2w=" providerId="None" clId="Web-{67063D24-C40E-4EFE-8B58-7EF1DF81C91B}" dt="2025-03-06T19:29:57.605" v="170"/>
          <ac:picMkLst>
            <pc:docMk/>
            <pc:sldMk cId="810637578" sldId="263"/>
            <ac:picMk id="60" creationId="{0BBA1ACB-7634-25CE-7859-8E970AC97314}"/>
          </ac:picMkLst>
        </pc:picChg>
        <pc:picChg chg="add del mod">
          <ac:chgData name="Tanvir Ahmed Farook" userId="TCYBb3uSJ+bdHYXHvL8inqj6VAMXLD9G89AUjqTPq2w=" providerId="None" clId="Web-{67063D24-C40E-4EFE-8B58-7EF1DF81C91B}" dt="2025-03-06T19:29:57.605" v="169"/>
          <ac:picMkLst>
            <pc:docMk/>
            <pc:sldMk cId="810637578" sldId="263"/>
            <ac:picMk id="69" creationId="{6E05C199-27CC-5AEC-6B01-C46E9B3D346F}"/>
          </ac:picMkLst>
        </pc:picChg>
        <pc:picChg chg="add del mod">
          <ac:chgData name="Tanvir Ahmed Farook" userId="TCYBb3uSJ+bdHYXHvL8inqj6VAMXLD9G89AUjqTPq2w=" providerId="None" clId="Web-{67063D24-C40E-4EFE-8B58-7EF1DF81C91B}" dt="2025-03-06T19:29:57.605" v="168"/>
          <ac:picMkLst>
            <pc:docMk/>
            <pc:sldMk cId="810637578" sldId="263"/>
            <ac:picMk id="70" creationId="{DCFDB0B7-1FE1-CEF7-1A7E-C030240317BC}"/>
          </ac:picMkLst>
        </pc:picChg>
        <pc:picChg chg="add del mod">
          <ac:chgData name="Tanvir Ahmed Farook" userId="TCYBb3uSJ+bdHYXHvL8inqj6VAMXLD9G89AUjqTPq2w=" providerId="None" clId="Web-{67063D24-C40E-4EFE-8B58-7EF1DF81C91B}" dt="2025-03-06T19:29:57.605" v="167"/>
          <ac:picMkLst>
            <pc:docMk/>
            <pc:sldMk cId="810637578" sldId="263"/>
            <ac:picMk id="78" creationId="{A1AF08F1-A20A-7165-4924-4A52B52E801B}"/>
          </ac:picMkLst>
        </pc:picChg>
        <pc:picChg chg="add del mod">
          <ac:chgData name="Tanvir Ahmed Farook" userId="TCYBb3uSJ+bdHYXHvL8inqj6VAMXLD9G89AUjqTPq2w=" providerId="None" clId="Web-{67063D24-C40E-4EFE-8B58-7EF1DF81C91B}" dt="2025-03-06T19:29:57.605" v="166"/>
          <ac:picMkLst>
            <pc:docMk/>
            <pc:sldMk cId="810637578" sldId="263"/>
            <ac:picMk id="81" creationId="{ACD449D0-26CB-2033-7ED0-A7E65F9095C5}"/>
          </ac:picMkLst>
        </pc:picChg>
        <pc:picChg chg="add del mod">
          <ac:chgData name="Tanvir Ahmed Farook" userId="TCYBb3uSJ+bdHYXHvL8inqj6VAMXLD9G89AUjqTPq2w=" providerId="None" clId="Web-{67063D24-C40E-4EFE-8B58-7EF1DF81C91B}" dt="2025-03-06T19:23:27.873" v="123"/>
          <ac:picMkLst>
            <pc:docMk/>
            <pc:sldMk cId="810637578" sldId="263"/>
            <ac:picMk id="92" creationId="{8AC4E8EC-C514-381D-4CDA-F95FF252C031}"/>
          </ac:picMkLst>
        </pc:picChg>
        <pc:picChg chg="add del mod">
          <ac:chgData name="Tanvir Ahmed Farook" userId="TCYBb3uSJ+bdHYXHvL8inqj6VAMXLD9G89AUjqTPq2w=" providerId="None" clId="Web-{67063D24-C40E-4EFE-8B58-7EF1DF81C91B}" dt="2025-03-06T19:29:57.605" v="165"/>
          <ac:picMkLst>
            <pc:docMk/>
            <pc:sldMk cId="810637578" sldId="263"/>
            <ac:picMk id="93" creationId="{2D5901A8-A86F-96B7-CF67-F66F23C76971}"/>
          </ac:picMkLst>
        </pc:picChg>
        <pc:picChg chg="add mod">
          <ac:chgData name="Tanvir Ahmed Farook" userId="TCYBb3uSJ+bdHYXHvL8inqj6VAMXLD9G89AUjqTPq2w=" providerId="None" clId="Web-{67063D24-C40E-4EFE-8B58-7EF1DF81C91B}" dt="2025-03-06T19:32:56.768" v="203" actId="1076"/>
          <ac:picMkLst>
            <pc:docMk/>
            <pc:sldMk cId="810637578" sldId="263"/>
            <ac:picMk id="113" creationId="{F18D496A-11C0-2F8D-34D1-C357C346DC53}"/>
          </ac:picMkLst>
        </pc:picChg>
        <pc:picChg chg="add mod">
          <ac:chgData name="Tanvir Ahmed Farook" userId="TCYBb3uSJ+bdHYXHvL8inqj6VAMXLD9G89AUjqTPq2w=" providerId="None" clId="Web-{67063D24-C40E-4EFE-8B58-7EF1DF81C91B}" dt="2025-03-06T19:32:50.471" v="202" actId="1076"/>
          <ac:picMkLst>
            <pc:docMk/>
            <pc:sldMk cId="810637578" sldId="263"/>
            <ac:picMk id="119" creationId="{807D2418-034A-EAC4-2825-D4DB770A0295}"/>
          </ac:picMkLst>
        </pc:picChg>
        <pc:picChg chg="add mod">
          <ac:chgData name="Tanvir Ahmed Farook" userId="TCYBb3uSJ+bdHYXHvL8inqj6VAMXLD9G89AUjqTPq2w=" providerId="None" clId="Web-{67063D24-C40E-4EFE-8B58-7EF1DF81C91B}" dt="2025-03-06T19:32:05.422" v="196" actId="1076"/>
          <ac:picMkLst>
            <pc:docMk/>
            <pc:sldMk cId="810637578" sldId="263"/>
            <ac:picMk id="135" creationId="{B51AE199-CA1B-61A5-524E-4E32922D6E5C}"/>
          </ac:picMkLst>
        </pc:picChg>
        <pc:picChg chg="add mod">
          <ac:chgData name="Tanvir Ahmed Farook" userId="TCYBb3uSJ+bdHYXHvL8inqj6VAMXLD9G89AUjqTPq2w=" providerId="None" clId="Web-{67063D24-C40E-4EFE-8B58-7EF1DF81C91B}" dt="2025-03-06T19:31:56.891" v="195" actId="1076"/>
          <ac:picMkLst>
            <pc:docMk/>
            <pc:sldMk cId="810637578" sldId="263"/>
            <ac:picMk id="136" creationId="{05916903-9926-EC8C-54D0-971BAC4860ED}"/>
          </ac:picMkLst>
        </pc:picChg>
        <pc:picChg chg="add mod">
          <ac:chgData name="Tanvir Ahmed Farook" userId="TCYBb3uSJ+bdHYXHvL8inqj6VAMXLD9G89AUjqTPq2w=" providerId="None" clId="Web-{67063D24-C40E-4EFE-8B58-7EF1DF81C91B}" dt="2025-03-06T19:32:44.377" v="201" actId="1076"/>
          <ac:picMkLst>
            <pc:docMk/>
            <pc:sldMk cId="810637578" sldId="263"/>
            <ac:picMk id="137" creationId="{FD36B874-DD99-19AC-936B-E99ECCB3DD1D}"/>
          </ac:picMkLst>
        </pc:picChg>
        <pc:picChg chg="add mod">
          <ac:chgData name="Tanvir Ahmed Farook" userId="TCYBb3uSJ+bdHYXHvL8inqj6VAMXLD9G89AUjqTPq2w=" providerId="None" clId="Web-{67063D24-C40E-4EFE-8B58-7EF1DF81C91B}" dt="2025-03-06T19:32:18.282" v="197" actId="1076"/>
          <ac:picMkLst>
            <pc:docMk/>
            <pc:sldMk cId="810637578" sldId="263"/>
            <ac:picMk id="138" creationId="{6CDE29A6-44D3-349D-1214-56EFAAE8F226}"/>
          </ac:picMkLst>
        </pc:picChg>
        <pc:picChg chg="add mod">
          <ac:chgData name="Tanvir Ahmed Farook" userId="TCYBb3uSJ+bdHYXHvL8inqj6VAMXLD9G89AUjqTPq2w=" providerId="None" clId="Web-{67063D24-C40E-4EFE-8B58-7EF1DF81C91B}" dt="2025-03-06T19:31:12.405" v="187" actId="1076"/>
          <ac:picMkLst>
            <pc:docMk/>
            <pc:sldMk cId="810637578" sldId="263"/>
            <ac:picMk id="139" creationId="{6166D332-7B39-7162-75E9-D849EFBFBBA0}"/>
          </ac:picMkLst>
        </pc:picChg>
        <pc:picChg chg="add mod">
          <ac:chgData name="Tanvir Ahmed Farook" userId="TCYBb3uSJ+bdHYXHvL8inqj6VAMXLD9G89AUjqTPq2w=" providerId="None" clId="Web-{67063D24-C40E-4EFE-8B58-7EF1DF81C91B}" dt="2025-03-06T19:32:23.673" v="198" actId="1076"/>
          <ac:picMkLst>
            <pc:docMk/>
            <pc:sldMk cId="810637578" sldId="263"/>
            <ac:picMk id="140" creationId="{89BEF956-BD3D-ACEA-2539-B3B702E603DB}"/>
          </ac:picMkLst>
        </pc:picChg>
        <pc:picChg chg="add del mod">
          <ac:chgData name="Tanvir Ahmed Farook" userId="TCYBb3uSJ+bdHYXHvL8inqj6VAMXLD9G89AUjqTPq2w=" providerId="None" clId="Web-{67063D24-C40E-4EFE-8B58-7EF1DF81C91B}" dt="2025-03-06T19:40:49.487" v="214"/>
          <ac:picMkLst>
            <pc:docMk/>
            <pc:sldMk cId="810637578" sldId="263"/>
            <ac:picMk id="141" creationId="{BD22C550-1B62-3744-64B5-F4D3B640D93E}"/>
          </ac:picMkLst>
        </pc:picChg>
        <pc:cxnChg chg="mod">
          <ac:chgData name="Tanvir Ahmed Farook" userId="TCYBb3uSJ+bdHYXHvL8inqj6VAMXLD9G89AUjqTPq2w=" providerId="None" clId="Web-{67063D24-C40E-4EFE-8B58-7EF1DF81C91B}" dt="2025-03-06T18:41:42.600" v="34" actId="1076"/>
          <ac:cxnSpMkLst>
            <pc:docMk/>
            <pc:sldMk cId="810637578" sldId="263"/>
            <ac:cxnSpMk id="56" creationId="{500092EC-EE5D-F675-EE6D-32E05CB0BBC9}"/>
          </ac:cxnSpMkLst>
        </pc:cxnChg>
      </pc:sldChg>
    </pc:docChg>
  </pc:docChgLst>
  <pc:docChgLst>
    <pc:chgData name="Yijun Wang" userId="Of/0Pj+qBr5fypY8jeq4N4QA/9LywGn1V9GniuUBQzk=" providerId="None" clId="Web-{033EFA62-AA42-45CC-82D4-8ED4D7141EC5}"/>
    <pc:docChg chg="modSld">
      <pc:chgData name="Yijun Wang" userId="Of/0Pj+qBr5fypY8jeq4N4QA/9LywGn1V9GniuUBQzk=" providerId="None" clId="Web-{033EFA62-AA42-45CC-82D4-8ED4D7141EC5}" dt="2025-03-06T16:55:24.145" v="28" actId="1076"/>
      <pc:docMkLst>
        <pc:docMk/>
      </pc:docMkLst>
      <pc:sldChg chg="modSp">
        <pc:chgData name="Yijun Wang" userId="Of/0Pj+qBr5fypY8jeq4N4QA/9LywGn1V9GniuUBQzk=" providerId="None" clId="Web-{033EFA62-AA42-45CC-82D4-8ED4D7141EC5}" dt="2025-03-06T16:55:24.145" v="28" actId="1076"/>
        <pc:sldMkLst>
          <pc:docMk/>
          <pc:sldMk cId="810637578" sldId="263"/>
        </pc:sldMkLst>
        <pc:spChg chg="mod">
          <ac:chgData name="Yijun Wang" userId="Of/0Pj+qBr5fypY8jeq4N4QA/9LywGn1V9GniuUBQzk=" providerId="None" clId="Web-{033EFA62-AA42-45CC-82D4-8ED4D7141EC5}" dt="2025-03-06T16:55:20.020" v="0" actId="1076"/>
          <ac:spMkLst>
            <pc:docMk/>
            <pc:sldMk cId="810637578" sldId="263"/>
            <ac:spMk id="73" creationId="{3F8DD11A-504B-5C66-CB28-E18A86297C80}"/>
          </ac:spMkLst>
        </pc:spChg>
        <pc:spChg chg="mod">
          <ac:chgData name="Yijun Wang" userId="Of/0Pj+qBr5fypY8jeq4N4QA/9LywGn1V9GniuUBQzk=" providerId="None" clId="Web-{033EFA62-AA42-45CC-82D4-8ED4D7141EC5}" dt="2025-03-06T16:55:20.161" v="1" actId="1076"/>
          <ac:spMkLst>
            <pc:docMk/>
            <pc:sldMk cId="810637578" sldId="263"/>
            <ac:spMk id="74" creationId="{B3C92025-B1C2-DE05-55FF-4193F0FAA7E6}"/>
          </ac:spMkLst>
        </pc:spChg>
        <pc:spChg chg="mod">
          <ac:chgData name="Yijun Wang" userId="Of/0Pj+qBr5fypY8jeq4N4QA/9LywGn1V9GniuUBQzk=" providerId="None" clId="Web-{033EFA62-AA42-45CC-82D4-8ED4D7141EC5}" dt="2025-03-06T16:55:20.317" v="2" actId="1076"/>
          <ac:spMkLst>
            <pc:docMk/>
            <pc:sldMk cId="810637578" sldId="263"/>
            <ac:spMk id="108" creationId="{EB60DA79-98D9-455B-C0D6-1BF683D29B67}"/>
          </ac:spMkLst>
        </pc:spChg>
        <pc:spChg chg="mod">
          <ac:chgData name="Yijun Wang" userId="Of/0Pj+qBr5fypY8jeq4N4QA/9LywGn1V9GniuUBQzk=" providerId="None" clId="Web-{033EFA62-AA42-45CC-82D4-8ED4D7141EC5}" dt="2025-03-06T16:55:20.458" v="3" actId="1076"/>
          <ac:spMkLst>
            <pc:docMk/>
            <pc:sldMk cId="810637578" sldId="263"/>
            <ac:spMk id="110" creationId="{A96DFA2A-AD02-06B6-8283-C65D12DC2FE0}"/>
          </ac:spMkLst>
        </pc:spChg>
        <pc:spChg chg="mod">
          <ac:chgData name="Yijun Wang" userId="Of/0Pj+qBr5fypY8jeq4N4QA/9LywGn1V9GniuUBQzk=" providerId="None" clId="Web-{033EFA62-AA42-45CC-82D4-8ED4D7141EC5}" dt="2025-03-06T16:55:20.614" v="4" actId="1076"/>
          <ac:spMkLst>
            <pc:docMk/>
            <pc:sldMk cId="810637578" sldId="263"/>
            <ac:spMk id="111" creationId="{9D02A781-2653-3BA5-3688-790B147C0918}"/>
          </ac:spMkLst>
        </pc:spChg>
        <pc:spChg chg="mod">
          <ac:chgData name="Yijun Wang" userId="Of/0Pj+qBr5fypY8jeq4N4QA/9LywGn1V9GniuUBQzk=" providerId="None" clId="Web-{033EFA62-AA42-45CC-82D4-8ED4D7141EC5}" dt="2025-03-06T16:55:21.208" v="8" actId="1076"/>
          <ac:spMkLst>
            <pc:docMk/>
            <pc:sldMk cId="810637578" sldId="263"/>
            <ac:spMk id="115" creationId="{B9659D5E-9329-8C4D-19AA-2F3B70CA831A}"/>
          </ac:spMkLst>
        </pc:spChg>
        <pc:spChg chg="mod">
          <ac:chgData name="Yijun Wang" userId="Of/0Pj+qBr5fypY8jeq4N4QA/9LywGn1V9GniuUBQzk=" providerId="None" clId="Web-{033EFA62-AA42-45CC-82D4-8ED4D7141EC5}" dt="2025-03-06T16:55:21.349" v="9" actId="1076"/>
          <ac:spMkLst>
            <pc:docMk/>
            <pc:sldMk cId="810637578" sldId="263"/>
            <ac:spMk id="116" creationId="{A9F259AD-CA66-F76C-A61C-3BC5BA60090A}"/>
          </ac:spMkLst>
        </pc:spChg>
        <pc:spChg chg="mod">
          <ac:chgData name="Yijun Wang" userId="Of/0Pj+qBr5fypY8jeq4N4QA/9LywGn1V9GniuUBQzk=" providerId="None" clId="Web-{033EFA62-AA42-45CC-82D4-8ED4D7141EC5}" dt="2025-03-06T16:55:21.505" v="10" actId="1076"/>
          <ac:spMkLst>
            <pc:docMk/>
            <pc:sldMk cId="810637578" sldId="263"/>
            <ac:spMk id="117" creationId="{69A1A130-C723-FF80-8C52-4585B88A6FCF}"/>
          </ac:spMkLst>
        </pc:spChg>
        <pc:spChg chg="mod">
          <ac:chgData name="Yijun Wang" userId="Of/0Pj+qBr5fypY8jeq4N4QA/9LywGn1V9GniuUBQzk=" providerId="None" clId="Web-{033EFA62-AA42-45CC-82D4-8ED4D7141EC5}" dt="2025-03-06T16:55:21.645" v="11" actId="1076"/>
          <ac:spMkLst>
            <pc:docMk/>
            <pc:sldMk cId="810637578" sldId="263"/>
            <ac:spMk id="118" creationId="{3DD98C7D-5EDC-60EB-67A1-41AEE24ED37B}"/>
          </ac:spMkLst>
        </pc:spChg>
        <pc:spChg chg="mod">
          <ac:chgData name="Yijun Wang" userId="Of/0Pj+qBr5fypY8jeq4N4QA/9LywGn1V9GniuUBQzk=" providerId="None" clId="Web-{033EFA62-AA42-45CC-82D4-8ED4D7141EC5}" dt="2025-03-06T16:55:21.786" v="12" actId="1076"/>
          <ac:spMkLst>
            <pc:docMk/>
            <pc:sldMk cId="810637578" sldId="263"/>
            <ac:spMk id="119" creationId="{79E07C36-DAB6-0085-DC3C-D32BF463B8EC}"/>
          </ac:spMkLst>
        </pc:spChg>
        <pc:spChg chg="mod">
          <ac:chgData name="Yijun Wang" userId="Of/0Pj+qBr5fypY8jeq4N4QA/9LywGn1V9GniuUBQzk=" providerId="None" clId="Web-{033EFA62-AA42-45CC-82D4-8ED4D7141EC5}" dt="2025-03-06T16:55:21.942" v="13" actId="1076"/>
          <ac:spMkLst>
            <pc:docMk/>
            <pc:sldMk cId="810637578" sldId="263"/>
            <ac:spMk id="120" creationId="{5D518FEE-1E32-2924-21B4-CD59FF28FE59}"/>
          </ac:spMkLst>
        </pc:spChg>
        <pc:spChg chg="mod">
          <ac:chgData name="Yijun Wang" userId="Of/0Pj+qBr5fypY8jeq4N4QA/9LywGn1V9GniuUBQzk=" providerId="None" clId="Web-{033EFA62-AA42-45CC-82D4-8ED4D7141EC5}" dt="2025-03-06T16:55:22.083" v="14" actId="1076"/>
          <ac:spMkLst>
            <pc:docMk/>
            <pc:sldMk cId="810637578" sldId="263"/>
            <ac:spMk id="121" creationId="{D9D25C7C-098D-2C8F-07C2-761BEB269C1A}"/>
          </ac:spMkLst>
        </pc:spChg>
        <pc:spChg chg="mod">
          <ac:chgData name="Yijun Wang" userId="Of/0Pj+qBr5fypY8jeq4N4QA/9LywGn1V9GniuUBQzk=" providerId="None" clId="Web-{033EFA62-AA42-45CC-82D4-8ED4D7141EC5}" dt="2025-03-06T16:55:23.223" v="22" actId="1076"/>
          <ac:spMkLst>
            <pc:docMk/>
            <pc:sldMk cId="810637578" sldId="263"/>
            <ac:spMk id="129" creationId="{60379B83-44AA-B82F-BAE2-D5004C843B15}"/>
          </ac:spMkLst>
        </pc:spChg>
        <pc:spChg chg="mod">
          <ac:chgData name="Yijun Wang" userId="Of/0Pj+qBr5fypY8jeq4N4QA/9LywGn1V9GniuUBQzk=" providerId="None" clId="Web-{033EFA62-AA42-45CC-82D4-8ED4D7141EC5}" dt="2025-03-06T16:55:23.380" v="23" actId="1076"/>
          <ac:spMkLst>
            <pc:docMk/>
            <pc:sldMk cId="810637578" sldId="263"/>
            <ac:spMk id="130" creationId="{6BF3D9FB-CFA2-2870-3919-9B65C3D7C247}"/>
          </ac:spMkLst>
        </pc:spChg>
        <pc:spChg chg="mod">
          <ac:chgData name="Yijun Wang" userId="Of/0Pj+qBr5fypY8jeq4N4QA/9LywGn1V9GniuUBQzk=" providerId="None" clId="Web-{033EFA62-AA42-45CC-82D4-8ED4D7141EC5}" dt="2025-03-06T16:55:23.536" v="24" actId="1076"/>
          <ac:spMkLst>
            <pc:docMk/>
            <pc:sldMk cId="810637578" sldId="263"/>
            <ac:spMk id="131" creationId="{819F5578-C28C-FF3C-FBF1-7515909356F6}"/>
          </ac:spMkLst>
        </pc:spChg>
        <pc:spChg chg="mod">
          <ac:chgData name="Yijun Wang" userId="Of/0Pj+qBr5fypY8jeq4N4QA/9LywGn1V9GniuUBQzk=" providerId="None" clId="Web-{033EFA62-AA42-45CC-82D4-8ED4D7141EC5}" dt="2025-03-06T16:55:23.692" v="25" actId="1076"/>
          <ac:spMkLst>
            <pc:docMk/>
            <pc:sldMk cId="810637578" sldId="263"/>
            <ac:spMk id="132" creationId="{75DCE009-7AEF-AAAA-D49D-6B36D9754678}"/>
          </ac:spMkLst>
        </pc:spChg>
        <pc:spChg chg="mod">
          <ac:chgData name="Yijun Wang" userId="Of/0Pj+qBr5fypY8jeq4N4QA/9LywGn1V9GniuUBQzk=" providerId="None" clId="Web-{033EFA62-AA42-45CC-82D4-8ED4D7141EC5}" dt="2025-03-06T16:55:23.848" v="26" actId="1076"/>
          <ac:spMkLst>
            <pc:docMk/>
            <pc:sldMk cId="810637578" sldId="263"/>
            <ac:spMk id="133" creationId="{C4A6260A-6D48-7FD6-FB55-32BA221F86C1}"/>
          </ac:spMkLst>
        </pc:spChg>
        <pc:spChg chg="mod">
          <ac:chgData name="Yijun Wang" userId="Of/0Pj+qBr5fypY8jeq4N4QA/9LywGn1V9GniuUBQzk=" providerId="None" clId="Web-{033EFA62-AA42-45CC-82D4-8ED4D7141EC5}" dt="2025-03-06T16:55:24.005" v="27" actId="1076"/>
          <ac:spMkLst>
            <pc:docMk/>
            <pc:sldMk cId="810637578" sldId="263"/>
            <ac:spMk id="134" creationId="{16139CE1-6FBC-0EB4-DE69-B920371AB29C}"/>
          </ac:spMkLst>
        </pc:spChg>
        <pc:graphicFrameChg chg="mod">
          <ac:chgData name="Yijun Wang" userId="Of/0Pj+qBr5fypY8jeq4N4QA/9LywGn1V9GniuUBQzk=" providerId="None" clId="Web-{033EFA62-AA42-45CC-82D4-8ED4D7141EC5}" dt="2025-03-06T16:55:24.145" v="28" actId="1076"/>
          <ac:graphicFrameMkLst>
            <pc:docMk/>
            <pc:sldMk cId="810637578" sldId="263"/>
            <ac:graphicFrameMk id="137" creationId="{D0909573-BD8B-F1EF-2A78-5D0C57910215}"/>
          </ac:graphicFrameMkLst>
        </pc:graphicFrameChg>
        <pc:cxnChg chg="mod">
          <ac:chgData name="Yijun Wang" userId="Of/0Pj+qBr5fypY8jeq4N4QA/9LywGn1V9GniuUBQzk=" providerId="None" clId="Web-{033EFA62-AA42-45CC-82D4-8ED4D7141EC5}" dt="2025-03-06T16:55:20.755" v="5" actId="1076"/>
          <ac:cxnSpMkLst>
            <pc:docMk/>
            <pc:sldMk cId="810637578" sldId="263"/>
            <ac:cxnSpMk id="112" creationId="{F04EE867-59A4-2182-DEA3-36A1EA703473}"/>
          </ac:cxnSpMkLst>
        </pc:cxnChg>
        <pc:cxnChg chg="mod">
          <ac:chgData name="Yijun Wang" userId="Of/0Pj+qBr5fypY8jeq4N4QA/9LywGn1V9GniuUBQzk=" providerId="None" clId="Web-{033EFA62-AA42-45CC-82D4-8ED4D7141EC5}" dt="2025-03-06T16:55:20.911" v="6" actId="1076"/>
          <ac:cxnSpMkLst>
            <pc:docMk/>
            <pc:sldMk cId="810637578" sldId="263"/>
            <ac:cxnSpMk id="113" creationId="{5E5A2571-1F5E-25CE-F944-00E136C2851E}"/>
          </ac:cxnSpMkLst>
        </pc:cxnChg>
        <pc:cxnChg chg="mod">
          <ac:chgData name="Yijun Wang" userId="Of/0Pj+qBr5fypY8jeq4N4QA/9LywGn1V9GniuUBQzk=" providerId="None" clId="Web-{033EFA62-AA42-45CC-82D4-8ED4D7141EC5}" dt="2025-03-06T16:55:21.052" v="7" actId="1076"/>
          <ac:cxnSpMkLst>
            <pc:docMk/>
            <pc:sldMk cId="810637578" sldId="263"/>
            <ac:cxnSpMk id="114" creationId="{DD5F55B4-B28C-7265-C7EA-362D5B1ECF3C}"/>
          </ac:cxnSpMkLst>
        </pc:cxnChg>
        <pc:cxnChg chg="mod">
          <ac:chgData name="Yijun Wang" userId="Of/0Pj+qBr5fypY8jeq4N4QA/9LywGn1V9GniuUBQzk=" providerId="None" clId="Web-{033EFA62-AA42-45CC-82D4-8ED4D7141EC5}" dt="2025-03-06T16:55:22.223" v="15" actId="1076"/>
          <ac:cxnSpMkLst>
            <pc:docMk/>
            <pc:sldMk cId="810637578" sldId="263"/>
            <ac:cxnSpMk id="122" creationId="{092A37AD-D2B2-A27C-0407-1E96893A3521}"/>
          </ac:cxnSpMkLst>
        </pc:cxnChg>
        <pc:cxnChg chg="mod">
          <ac:chgData name="Yijun Wang" userId="Of/0Pj+qBr5fypY8jeq4N4QA/9LywGn1V9GniuUBQzk=" providerId="None" clId="Web-{033EFA62-AA42-45CC-82D4-8ED4D7141EC5}" dt="2025-03-06T16:55:22.364" v="16" actId="1076"/>
          <ac:cxnSpMkLst>
            <pc:docMk/>
            <pc:sldMk cId="810637578" sldId="263"/>
            <ac:cxnSpMk id="123" creationId="{36FC00C8-59F4-ACB4-763C-5DAF0D65617A}"/>
          </ac:cxnSpMkLst>
        </pc:cxnChg>
        <pc:cxnChg chg="mod">
          <ac:chgData name="Yijun Wang" userId="Of/0Pj+qBr5fypY8jeq4N4QA/9LywGn1V9GniuUBQzk=" providerId="None" clId="Web-{033EFA62-AA42-45CC-82D4-8ED4D7141EC5}" dt="2025-03-06T16:55:22.505" v="17" actId="1076"/>
          <ac:cxnSpMkLst>
            <pc:docMk/>
            <pc:sldMk cId="810637578" sldId="263"/>
            <ac:cxnSpMk id="124" creationId="{D5B52A4D-3C69-3AC1-3890-F25949BA3115}"/>
          </ac:cxnSpMkLst>
        </pc:cxnChg>
        <pc:cxnChg chg="mod">
          <ac:chgData name="Yijun Wang" userId="Of/0Pj+qBr5fypY8jeq4N4QA/9LywGn1V9GniuUBQzk=" providerId="None" clId="Web-{033EFA62-AA42-45CC-82D4-8ED4D7141EC5}" dt="2025-03-06T16:55:22.645" v="18" actId="1076"/>
          <ac:cxnSpMkLst>
            <pc:docMk/>
            <pc:sldMk cId="810637578" sldId="263"/>
            <ac:cxnSpMk id="125" creationId="{6657D9BB-77A0-9EC1-6C97-7887620B6319}"/>
          </ac:cxnSpMkLst>
        </pc:cxnChg>
        <pc:cxnChg chg="mod">
          <ac:chgData name="Yijun Wang" userId="Of/0Pj+qBr5fypY8jeq4N4QA/9LywGn1V9GniuUBQzk=" providerId="None" clId="Web-{033EFA62-AA42-45CC-82D4-8ED4D7141EC5}" dt="2025-03-06T16:55:22.786" v="19" actId="1076"/>
          <ac:cxnSpMkLst>
            <pc:docMk/>
            <pc:sldMk cId="810637578" sldId="263"/>
            <ac:cxnSpMk id="126" creationId="{0128F74C-6693-A08E-9012-744AC98B0552}"/>
          </ac:cxnSpMkLst>
        </pc:cxnChg>
        <pc:cxnChg chg="mod">
          <ac:chgData name="Yijun Wang" userId="Of/0Pj+qBr5fypY8jeq4N4QA/9LywGn1V9GniuUBQzk=" providerId="None" clId="Web-{033EFA62-AA42-45CC-82D4-8ED4D7141EC5}" dt="2025-03-06T16:55:22.942" v="20" actId="1076"/>
          <ac:cxnSpMkLst>
            <pc:docMk/>
            <pc:sldMk cId="810637578" sldId="263"/>
            <ac:cxnSpMk id="127" creationId="{12F8D7B1-E073-670F-B999-75316A7918DA}"/>
          </ac:cxnSpMkLst>
        </pc:cxnChg>
        <pc:cxnChg chg="mod">
          <ac:chgData name="Yijun Wang" userId="Of/0Pj+qBr5fypY8jeq4N4QA/9LywGn1V9GniuUBQzk=" providerId="None" clId="Web-{033EFA62-AA42-45CC-82D4-8ED4D7141EC5}" dt="2025-03-06T16:55:23.083" v="21" actId="1076"/>
          <ac:cxnSpMkLst>
            <pc:docMk/>
            <pc:sldMk cId="810637578" sldId="263"/>
            <ac:cxnSpMk id="128" creationId="{7A869B25-CDA9-DC13-702B-3A8FEFD88CB7}"/>
          </ac:cxnSpMkLst>
        </pc:cxnChg>
      </pc:sldChg>
    </pc:docChg>
  </pc:docChgLst>
  <pc:docChgLst>
    <pc:chgData name="Ananth Mohan" userId="0+ntHPCRoNBLvPdhBUzfljBEc8fje1ZhpS6eiRuEUeE=" providerId="None" clId="Web-{744AF988-074D-4D6A-9819-2DF2345C48E5}"/>
    <pc:docChg chg="modSld">
      <pc:chgData name="Ananth Mohan" userId="0+ntHPCRoNBLvPdhBUzfljBEc8fje1ZhpS6eiRuEUeE=" providerId="None" clId="Web-{744AF988-074D-4D6A-9819-2DF2345C48E5}" dt="2025-03-06T19:00:04.804" v="52" actId="20577"/>
      <pc:docMkLst>
        <pc:docMk/>
      </pc:docMkLst>
      <pc:sldChg chg="addSp delSp modSp">
        <pc:chgData name="Ananth Mohan" userId="0+ntHPCRoNBLvPdhBUzfljBEc8fje1ZhpS6eiRuEUeE=" providerId="None" clId="Web-{744AF988-074D-4D6A-9819-2DF2345C48E5}" dt="2025-03-06T19:00:04.804" v="52" actId="20577"/>
        <pc:sldMkLst>
          <pc:docMk/>
          <pc:sldMk cId="810637578" sldId="263"/>
        </pc:sldMkLst>
        <pc:spChg chg="mod">
          <ac:chgData name="Ananth Mohan" userId="0+ntHPCRoNBLvPdhBUzfljBEc8fje1ZhpS6eiRuEUeE=" providerId="None" clId="Web-{744AF988-074D-4D6A-9819-2DF2345C48E5}" dt="2025-03-06T18:55:08.227" v="46" actId="1076"/>
          <ac:spMkLst>
            <pc:docMk/>
            <pc:sldMk cId="810637578" sldId="263"/>
            <ac:spMk id="25" creationId="{FC39D6D1-3498-BBA0-CCE7-2FC9D51F910F}"/>
          </ac:spMkLst>
        </pc:spChg>
        <pc:spChg chg="mod">
          <ac:chgData name="Ananth Mohan" userId="0+ntHPCRoNBLvPdhBUzfljBEc8fje1ZhpS6eiRuEUeE=" providerId="None" clId="Web-{744AF988-074D-4D6A-9819-2DF2345C48E5}" dt="2025-03-06T18:52:19.088" v="25" actId="1076"/>
          <ac:spMkLst>
            <pc:docMk/>
            <pc:sldMk cId="810637578" sldId="263"/>
            <ac:spMk id="75" creationId="{93F3C628-36B3-04B5-05D2-77C7E4E26711}"/>
          </ac:spMkLst>
        </pc:spChg>
        <pc:spChg chg="ord">
          <ac:chgData name="Ananth Mohan" userId="0+ntHPCRoNBLvPdhBUzfljBEc8fje1ZhpS6eiRuEUeE=" providerId="None" clId="Web-{744AF988-074D-4D6A-9819-2DF2345C48E5}" dt="2025-03-06T18:54:55.274" v="44"/>
          <ac:spMkLst>
            <pc:docMk/>
            <pc:sldMk cId="810637578" sldId="263"/>
            <ac:spMk id="76" creationId="{B8194EFC-3FB3-082B-92AF-0F0A7A88B170}"/>
          </ac:spMkLst>
        </pc:spChg>
        <pc:spChg chg="mod">
          <ac:chgData name="Ananth Mohan" userId="0+ntHPCRoNBLvPdhBUzfljBEc8fje1ZhpS6eiRuEUeE=" providerId="None" clId="Web-{744AF988-074D-4D6A-9819-2DF2345C48E5}" dt="2025-03-06T18:52:19.213" v="26" actId="1076"/>
          <ac:spMkLst>
            <pc:docMk/>
            <pc:sldMk cId="810637578" sldId="263"/>
            <ac:spMk id="77" creationId="{7D0B9666-3719-1805-B13B-7CFFAA25FC5F}"/>
          </ac:spMkLst>
        </pc:spChg>
        <pc:spChg chg="mod">
          <ac:chgData name="Ananth Mohan" userId="0+ntHPCRoNBLvPdhBUzfljBEc8fje1ZhpS6eiRuEUeE=" providerId="None" clId="Web-{744AF988-074D-4D6A-9819-2DF2345C48E5}" dt="2025-03-06T19:00:04.804" v="52" actId="20577"/>
          <ac:spMkLst>
            <pc:docMk/>
            <pc:sldMk cId="810637578" sldId="263"/>
            <ac:spMk id="105" creationId="{F3F38A43-0A4B-88AD-6539-02458E1CB45C}"/>
          </ac:spMkLst>
        </pc:spChg>
        <pc:spChg chg="mod">
          <ac:chgData name="Ananth Mohan" userId="0+ntHPCRoNBLvPdhBUzfljBEc8fje1ZhpS6eiRuEUeE=" providerId="None" clId="Web-{744AF988-074D-4D6A-9819-2DF2345C48E5}" dt="2025-03-06T18:52:19.353" v="27" actId="1076"/>
          <ac:spMkLst>
            <pc:docMk/>
            <pc:sldMk cId="810637578" sldId="263"/>
            <ac:spMk id="106" creationId="{9C71C168-F78F-D512-FE12-4A0575D8FD56}"/>
          </ac:spMkLst>
        </pc:spChg>
        <pc:spChg chg="mod">
          <ac:chgData name="Ananth Mohan" userId="0+ntHPCRoNBLvPdhBUzfljBEc8fje1ZhpS6eiRuEUeE=" providerId="None" clId="Web-{744AF988-074D-4D6A-9819-2DF2345C48E5}" dt="2025-03-06T18:52:05.400" v="24" actId="14100"/>
          <ac:spMkLst>
            <pc:docMk/>
            <pc:sldMk cId="810637578" sldId="263"/>
            <ac:spMk id="107" creationId="{EB9A831C-D977-1EE7-2F6C-B58C2FD1B355}"/>
          </ac:spMkLst>
        </pc:spChg>
        <pc:picChg chg="ord">
          <ac:chgData name="Ananth Mohan" userId="0+ntHPCRoNBLvPdhBUzfljBEc8fje1ZhpS6eiRuEUeE=" providerId="None" clId="Web-{744AF988-074D-4D6A-9819-2DF2345C48E5}" dt="2025-03-06T18:53:23.603" v="28"/>
          <ac:picMkLst>
            <pc:docMk/>
            <pc:sldMk cId="810637578" sldId="263"/>
            <ac:picMk id="11" creationId="{E53BAB70-3E70-BC6F-E734-F90FBAFBC948}"/>
          </ac:picMkLst>
        </pc:picChg>
        <pc:picChg chg="add del">
          <ac:chgData name="Ananth Mohan" userId="0+ntHPCRoNBLvPdhBUzfljBEc8fje1ZhpS6eiRuEUeE=" providerId="None" clId="Web-{744AF988-074D-4D6A-9819-2DF2345C48E5}" dt="2025-03-06T18:53:34.462" v="30"/>
          <ac:picMkLst>
            <pc:docMk/>
            <pc:sldMk cId="810637578" sldId="263"/>
            <ac:picMk id="15" creationId="{BA36C4F6-62F7-CD42-5CFA-2414BE3CD29F}"/>
          </ac:picMkLst>
        </pc:picChg>
        <pc:picChg chg="mod">
          <ac:chgData name="Ananth Mohan" userId="0+ntHPCRoNBLvPdhBUzfljBEc8fje1ZhpS6eiRuEUeE=" providerId="None" clId="Web-{744AF988-074D-4D6A-9819-2DF2345C48E5}" dt="2025-03-06T18:56:04.899" v="50" actId="1076"/>
          <ac:picMkLst>
            <pc:docMk/>
            <pc:sldMk cId="810637578" sldId="263"/>
            <ac:picMk id="66" creationId="{F7F08560-584E-DBC2-AC07-F5BCA7BFD78F}"/>
          </ac:picMkLst>
        </pc:picChg>
        <pc:cxnChg chg="mod">
          <ac:chgData name="Ananth Mohan" userId="0+ntHPCRoNBLvPdhBUzfljBEc8fje1ZhpS6eiRuEUeE=" providerId="None" clId="Web-{744AF988-074D-4D6A-9819-2DF2345C48E5}" dt="2025-03-06T18:49:33.355" v="0" actId="1076"/>
          <ac:cxnSpMkLst>
            <pc:docMk/>
            <pc:sldMk cId="810637578" sldId="263"/>
            <ac:cxnSpMk id="55" creationId="{1724909C-7D2F-3B28-6FF4-B3076A59A6A7}"/>
          </ac:cxnSpMkLst>
        </pc:cxnChg>
      </pc:sldChg>
    </pc:docChg>
  </pc:docChgLst>
  <pc:docChgLst>
    <pc:chgData name="Ananth Mohan" userId="0+ntHPCRoNBLvPdhBUzfljBEc8fje1ZhpS6eiRuEUeE=" providerId="None" clId="Web-{8AB6FC13-471B-4528-B479-1180783AA64B}"/>
    <pc:docChg chg="addSld modSld sldOrd">
      <pc:chgData name="Ananth Mohan" userId="0+ntHPCRoNBLvPdhBUzfljBEc8fje1ZhpS6eiRuEUeE=" providerId="None" clId="Web-{8AB6FC13-471B-4528-B479-1180783AA64B}" dt="2025-02-19T22:41:09.842" v="148" actId="20577"/>
      <pc:docMkLst>
        <pc:docMk/>
      </pc:docMkLst>
      <pc:sldChg chg="delSp modSp add ord replId">
        <pc:chgData name="Ananth Mohan" userId="0+ntHPCRoNBLvPdhBUzfljBEc8fje1ZhpS6eiRuEUeE=" providerId="None" clId="Web-{8AB6FC13-471B-4528-B479-1180783AA64B}" dt="2025-02-19T22:41:09.842" v="148" actId="20577"/>
        <pc:sldMkLst>
          <pc:docMk/>
          <pc:sldMk cId="810637578" sldId="263"/>
        </pc:sldMkLst>
        <pc:spChg chg="mod">
          <ac:chgData name="Ananth Mohan" userId="0+ntHPCRoNBLvPdhBUzfljBEc8fje1ZhpS6eiRuEUeE=" providerId="None" clId="Web-{8AB6FC13-471B-4528-B479-1180783AA64B}" dt="2025-02-19T22:41:09.842" v="148" actId="20577"/>
          <ac:spMkLst>
            <pc:docMk/>
            <pc:sldMk cId="810637578" sldId="263"/>
            <ac:spMk id="5" creationId="{D4253DBF-C5E1-107A-A92F-3342904DDE9F}"/>
          </ac:spMkLst>
        </pc:spChg>
        <pc:spChg chg="mod">
          <ac:chgData name="Ananth Mohan" userId="0+ntHPCRoNBLvPdhBUzfljBEc8fje1ZhpS6eiRuEUeE=" providerId="None" clId="Web-{8AB6FC13-471B-4528-B479-1180783AA64B}" dt="2025-02-19T22:39:33.414" v="145" actId="20577"/>
          <ac:spMkLst>
            <pc:docMk/>
            <pc:sldMk cId="810637578" sldId="263"/>
            <ac:spMk id="7" creationId="{299ECDEE-127D-9631-CFAC-5C6299E4ECA3}"/>
          </ac:spMkLst>
        </pc:spChg>
        <pc:spChg chg="mod">
          <ac:chgData name="Ananth Mohan" userId="0+ntHPCRoNBLvPdhBUzfljBEc8fje1ZhpS6eiRuEUeE=" providerId="None" clId="Web-{8AB6FC13-471B-4528-B479-1180783AA64B}" dt="2025-02-19T22:40:14.276" v="146" actId="20577"/>
          <ac:spMkLst>
            <pc:docMk/>
            <pc:sldMk cId="810637578" sldId="263"/>
            <ac:spMk id="107" creationId="{EB9A831C-D977-1EE7-2F6C-B58C2FD1B355}"/>
          </ac:spMkLst>
        </pc:spChg>
      </pc:sldChg>
      <pc:sldChg chg="addSp modSp new">
        <pc:chgData name="Ananth Mohan" userId="0+ntHPCRoNBLvPdhBUzfljBEc8fje1ZhpS6eiRuEUeE=" providerId="None" clId="Web-{8AB6FC13-471B-4528-B479-1180783AA64B}" dt="2025-02-19T18:28:27.841" v="34" actId="14100"/>
        <pc:sldMkLst>
          <pc:docMk/>
          <pc:sldMk cId="2410257369" sldId="264"/>
        </pc:sldMkLst>
        <pc:spChg chg="add mod">
          <ac:chgData name="Ananth Mohan" userId="0+ntHPCRoNBLvPdhBUzfljBEc8fje1ZhpS6eiRuEUeE=" providerId="None" clId="Web-{8AB6FC13-471B-4528-B479-1180783AA64B}" dt="2025-02-19T18:28:27.841" v="34" actId="14100"/>
          <ac:spMkLst>
            <pc:docMk/>
            <pc:sldMk cId="2410257369" sldId="264"/>
            <ac:spMk id="2" creationId="{B9B17CC6-473E-6A1D-9972-48C9DF1C4A6F}"/>
          </ac:spMkLst>
        </pc:spChg>
      </pc:sldChg>
    </pc:docChg>
  </pc:docChgLst>
  <pc:docChgLst>
    <pc:chgData name="Hsueh-Ning Chao" userId="I32u27yO7tdajtqyP71sKDiQulIz6ic0z1xl0wdhUYk=" providerId="None" clId="Web-{C7B71E0A-604C-4FA9-9112-8697E8540810}"/>
    <pc:docChg chg="modSld">
      <pc:chgData name="Hsueh-Ning Chao" userId="I32u27yO7tdajtqyP71sKDiQulIz6ic0z1xl0wdhUYk=" providerId="None" clId="Web-{C7B71E0A-604C-4FA9-9112-8697E8540810}" dt="2025-03-07T03:58:14.221" v="22" actId="20577"/>
      <pc:docMkLst>
        <pc:docMk/>
      </pc:docMkLst>
      <pc:sldChg chg="modSp">
        <pc:chgData name="Hsueh-Ning Chao" userId="I32u27yO7tdajtqyP71sKDiQulIz6ic0z1xl0wdhUYk=" providerId="None" clId="Web-{C7B71E0A-604C-4FA9-9112-8697E8540810}" dt="2025-03-07T03:58:14.221" v="22" actId="20577"/>
        <pc:sldMkLst>
          <pc:docMk/>
          <pc:sldMk cId="810637578" sldId="263"/>
        </pc:sldMkLst>
        <pc:spChg chg="mod">
          <ac:chgData name="Hsueh-Ning Chao" userId="I32u27yO7tdajtqyP71sKDiQulIz6ic0z1xl0wdhUYk=" providerId="None" clId="Web-{C7B71E0A-604C-4FA9-9112-8697E8540810}" dt="2025-03-07T03:58:14.221" v="22" actId="20577"/>
          <ac:spMkLst>
            <pc:docMk/>
            <pc:sldMk cId="810637578" sldId="263"/>
            <ac:spMk id="47" creationId="{07E0DD1A-7B39-59B9-3A3A-EA3C42D7D74A}"/>
          </ac:spMkLst>
        </pc:spChg>
      </pc:sldChg>
    </pc:docChg>
  </pc:docChgLst>
  <pc:docChgLst>
    <pc:chgData name="Shih Min Lin" userId="EZMguJyP4QRPSMfRfjN+Y1sL5Ac+4RMpWotTWDpLLe0=" providerId="None" clId="Web-{8EEB2818-E31E-4156-9782-7E2F51161203}"/>
    <pc:docChg chg="modSld">
      <pc:chgData name="Shih Min Lin" userId="EZMguJyP4QRPSMfRfjN+Y1sL5Ac+4RMpWotTWDpLLe0=" providerId="None" clId="Web-{8EEB2818-E31E-4156-9782-7E2F51161203}" dt="2025-03-06T20:16:31.027" v="6" actId="20577"/>
      <pc:docMkLst>
        <pc:docMk/>
      </pc:docMkLst>
      <pc:sldChg chg="modSp">
        <pc:chgData name="Shih Min Lin" userId="EZMguJyP4QRPSMfRfjN+Y1sL5Ac+4RMpWotTWDpLLe0=" providerId="None" clId="Web-{8EEB2818-E31E-4156-9782-7E2F51161203}" dt="2025-03-06T20:16:31.027" v="6" actId="20577"/>
        <pc:sldMkLst>
          <pc:docMk/>
          <pc:sldMk cId="810637578" sldId="263"/>
        </pc:sldMkLst>
        <pc:spChg chg="mod">
          <ac:chgData name="Shih Min Lin" userId="EZMguJyP4QRPSMfRfjN+Y1sL5Ac+4RMpWotTWDpLLe0=" providerId="None" clId="Web-{8EEB2818-E31E-4156-9782-7E2F51161203}" dt="2025-03-06T20:15:59.745" v="2" actId="20577"/>
          <ac:spMkLst>
            <pc:docMk/>
            <pc:sldMk cId="810637578" sldId="263"/>
            <ac:spMk id="54" creationId="{96285D32-63D2-BBC3-B488-C151D1F0FA8F}"/>
          </ac:spMkLst>
        </pc:spChg>
        <pc:spChg chg="mod">
          <ac:chgData name="Shih Min Lin" userId="EZMguJyP4QRPSMfRfjN+Y1sL5Ac+4RMpWotTWDpLLe0=" providerId="None" clId="Web-{8EEB2818-E31E-4156-9782-7E2F51161203}" dt="2025-03-06T20:16:31.027" v="6" actId="20577"/>
          <ac:spMkLst>
            <pc:docMk/>
            <pc:sldMk cId="810637578" sldId="263"/>
            <ac:spMk id="67" creationId="{5E5B07BD-E5E4-575D-CAD2-935AC7A56F5B}"/>
          </ac:spMkLst>
        </pc:spChg>
      </pc:sldChg>
    </pc:docChg>
  </pc:docChgLst>
  <pc:docChgLst>
    <pc:chgData name="Hsueh-Ning Chao" userId="I32u27yO7tdajtqyP71sKDiQulIz6ic0z1xl0wdhUYk=" providerId="None" clId="Web-{168F950E-D4E7-4860-BA38-29B53CDD5DDF}"/>
    <pc:docChg chg="modSld">
      <pc:chgData name="Hsueh-Ning Chao" userId="I32u27yO7tdajtqyP71sKDiQulIz6ic0z1xl0wdhUYk=" providerId="None" clId="Web-{168F950E-D4E7-4860-BA38-29B53CDD5DDF}" dt="2025-03-06T20:09:03.342" v="71" actId="14100"/>
      <pc:docMkLst>
        <pc:docMk/>
      </pc:docMkLst>
      <pc:sldChg chg="modSp">
        <pc:chgData name="Hsueh-Ning Chao" userId="I32u27yO7tdajtqyP71sKDiQulIz6ic0z1xl0wdhUYk=" providerId="None" clId="Web-{168F950E-D4E7-4860-BA38-29B53CDD5DDF}" dt="2025-03-06T20:09:03.342" v="71" actId="14100"/>
        <pc:sldMkLst>
          <pc:docMk/>
          <pc:sldMk cId="810637578" sldId="263"/>
        </pc:sldMkLst>
        <pc:spChg chg="mod">
          <ac:chgData name="Hsueh-Ning Chao" userId="I32u27yO7tdajtqyP71sKDiQulIz6ic0z1xl0wdhUYk=" providerId="None" clId="Web-{168F950E-D4E7-4860-BA38-29B53CDD5DDF}" dt="2025-03-06T20:08:28.403" v="64" actId="20577"/>
          <ac:spMkLst>
            <pc:docMk/>
            <pc:sldMk cId="810637578" sldId="263"/>
            <ac:spMk id="18" creationId="{1169DDE9-B93C-CBBF-324B-24B2DEF9B9CB}"/>
          </ac:spMkLst>
        </pc:spChg>
        <pc:spChg chg="mod">
          <ac:chgData name="Hsueh-Ning Chao" userId="I32u27yO7tdajtqyP71sKDiQulIz6ic0z1xl0wdhUYk=" providerId="None" clId="Web-{168F950E-D4E7-4860-BA38-29B53CDD5DDF}" dt="2025-03-06T20:08:23.371" v="63" actId="20577"/>
          <ac:spMkLst>
            <pc:docMk/>
            <pc:sldMk cId="810637578" sldId="263"/>
            <ac:spMk id="44" creationId="{F3358298-A61B-585C-693F-B9E05EA84E2B}"/>
          </ac:spMkLst>
        </pc:spChg>
        <pc:spChg chg="mod">
          <ac:chgData name="Hsueh-Ning Chao" userId="I32u27yO7tdajtqyP71sKDiQulIz6ic0z1xl0wdhUYk=" providerId="None" clId="Web-{168F950E-D4E7-4860-BA38-29B53CDD5DDF}" dt="2025-03-06T20:03:59.314" v="33" actId="20577"/>
          <ac:spMkLst>
            <pc:docMk/>
            <pc:sldMk cId="810637578" sldId="263"/>
            <ac:spMk id="49" creationId="{607C8AF3-E134-057E-35D7-F14B9338B342}"/>
          </ac:spMkLst>
        </pc:spChg>
        <pc:spChg chg="mod">
          <ac:chgData name="Hsueh-Ning Chao" userId="I32u27yO7tdajtqyP71sKDiQulIz6ic0z1xl0wdhUYk=" providerId="None" clId="Web-{168F950E-D4E7-4860-BA38-29B53CDD5DDF}" dt="2025-03-06T20:07:01.290" v="45" actId="20577"/>
          <ac:spMkLst>
            <pc:docMk/>
            <pc:sldMk cId="810637578" sldId="263"/>
            <ac:spMk id="52" creationId="{8EEC4C13-5D83-4B2A-C1AF-78E482124E2E}"/>
          </ac:spMkLst>
        </pc:spChg>
        <pc:spChg chg="mod">
          <ac:chgData name="Hsueh-Ning Chao" userId="I32u27yO7tdajtqyP71sKDiQulIz6ic0z1xl0wdhUYk=" providerId="None" clId="Web-{168F950E-D4E7-4860-BA38-29B53CDD5DDF}" dt="2025-03-06T20:09:03.342" v="71" actId="14100"/>
          <ac:spMkLst>
            <pc:docMk/>
            <pc:sldMk cId="810637578" sldId="263"/>
            <ac:spMk id="81" creationId="{736A3F39-55EC-EE46-2D7A-20EBB6F3C7C8}"/>
          </ac:spMkLst>
        </pc:spChg>
        <pc:spChg chg="mod">
          <ac:chgData name="Hsueh-Ning Chao" userId="I32u27yO7tdajtqyP71sKDiQulIz6ic0z1xl0wdhUYk=" providerId="None" clId="Web-{168F950E-D4E7-4860-BA38-29B53CDD5DDF}" dt="2025-03-06T20:09:01.123" v="70" actId="20577"/>
          <ac:spMkLst>
            <pc:docMk/>
            <pc:sldMk cId="810637578" sldId="263"/>
            <ac:spMk id="87" creationId="{8CCB822F-761C-CC27-87F8-029A1489A5EA}"/>
          </ac:spMkLst>
        </pc:spChg>
        <pc:picChg chg="mod">
          <ac:chgData name="Hsueh-Ning Chao" userId="I32u27yO7tdajtqyP71sKDiQulIz6ic0z1xl0wdhUYk=" providerId="None" clId="Web-{168F950E-D4E7-4860-BA38-29B53CDD5DDF}" dt="2025-03-06T20:06:01.007" v="39" actId="1076"/>
          <ac:picMkLst>
            <pc:docMk/>
            <pc:sldMk cId="810637578" sldId="263"/>
            <ac:picMk id="3" creationId="{FAED5053-9F42-7076-66D3-0D0D992E7E7D}"/>
          </ac:picMkLst>
        </pc:picChg>
        <pc:picChg chg="mod">
          <ac:chgData name="Hsueh-Ning Chao" userId="I32u27yO7tdajtqyP71sKDiQulIz6ic0z1xl0wdhUYk=" providerId="None" clId="Web-{168F950E-D4E7-4860-BA38-29B53CDD5DDF}" dt="2025-03-06T20:06:00.257" v="35" actId="1076"/>
          <ac:picMkLst>
            <pc:docMk/>
            <pc:sldMk cId="810637578" sldId="263"/>
            <ac:picMk id="6" creationId="{17FC9AB6-0368-7A10-7759-A5B77B50E4C2}"/>
          </ac:picMkLst>
        </pc:picChg>
        <pc:picChg chg="mod">
          <ac:chgData name="Hsueh-Ning Chao" userId="I32u27yO7tdajtqyP71sKDiQulIz6ic0z1xl0wdhUYk=" providerId="None" clId="Web-{168F950E-D4E7-4860-BA38-29B53CDD5DDF}" dt="2025-03-06T20:06:00.428" v="36" actId="1076"/>
          <ac:picMkLst>
            <pc:docMk/>
            <pc:sldMk cId="810637578" sldId="263"/>
            <ac:picMk id="19" creationId="{8CC48D3F-FACA-D61A-D8D7-53B58A14805E}"/>
          </ac:picMkLst>
        </pc:picChg>
        <pc:picChg chg="mod">
          <ac:chgData name="Hsueh-Ning Chao" userId="I32u27yO7tdajtqyP71sKDiQulIz6ic0z1xl0wdhUYk=" providerId="None" clId="Web-{168F950E-D4E7-4860-BA38-29B53CDD5DDF}" dt="2025-03-06T20:06:00.600" v="37" actId="1076"/>
          <ac:picMkLst>
            <pc:docMk/>
            <pc:sldMk cId="810637578" sldId="263"/>
            <ac:picMk id="20" creationId="{610A73A9-1EBF-8AC9-CDBE-6649694F9C76}"/>
          </ac:picMkLst>
        </pc:picChg>
        <pc:picChg chg="mod">
          <ac:chgData name="Hsueh-Ning Chao" userId="I32u27yO7tdajtqyP71sKDiQulIz6ic0z1xl0wdhUYk=" providerId="None" clId="Web-{168F950E-D4E7-4860-BA38-29B53CDD5DDF}" dt="2025-03-06T20:06:00.772" v="38" actId="1076"/>
          <ac:picMkLst>
            <pc:docMk/>
            <pc:sldMk cId="810637578" sldId="263"/>
            <ac:picMk id="21" creationId="{296A8129-2C09-0036-03D9-B21FEE148C45}"/>
          </ac:picMkLst>
        </pc:picChg>
      </pc:sldChg>
    </pc:docChg>
  </pc:docChgLst>
  <pc:docChgLst>
    <pc:chgData name="Hsueh-Ning Chao" userId="I32u27yO7tdajtqyP71sKDiQulIz6ic0z1xl0wdhUYk=" providerId="None" clId="Web-{67D21839-B25C-4B5A-8F14-A41C6BA6BAE2}"/>
    <pc:docChg chg="modSld">
      <pc:chgData name="Hsueh-Ning Chao" userId="I32u27yO7tdajtqyP71sKDiQulIz6ic0z1xl0wdhUYk=" providerId="None" clId="Web-{67D21839-B25C-4B5A-8F14-A41C6BA6BAE2}" dt="2025-03-06T20:33:12.569" v="207" actId="20577"/>
      <pc:docMkLst>
        <pc:docMk/>
      </pc:docMkLst>
      <pc:sldChg chg="addSp modSp modCm">
        <pc:chgData name="Hsueh-Ning Chao" userId="I32u27yO7tdajtqyP71sKDiQulIz6ic0z1xl0wdhUYk=" providerId="None" clId="Web-{67D21839-B25C-4B5A-8F14-A41C6BA6BAE2}" dt="2025-03-06T20:33:12.569" v="207" actId="20577"/>
        <pc:sldMkLst>
          <pc:docMk/>
          <pc:sldMk cId="810637578" sldId="263"/>
        </pc:sldMkLst>
        <pc:spChg chg="add mod">
          <ac:chgData name="Hsueh-Ning Chao" userId="I32u27yO7tdajtqyP71sKDiQulIz6ic0z1xl0wdhUYk=" providerId="None" clId="Web-{67D21839-B25C-4B5A-8F14-A41C6BA6BAE2}" dt="2025-03-06T20:20:36.919" v="125" actId="1076"/>
          <ac:spMkLst>
            <pc:docMk/>
            <pc:sldMk cId="810637578" sldId="263"/>
            <ac:spMk id="2" creationId="{88F2FE2B-1AC0-B312-A5E1-1825B6C48F64}"/>
          </ac:spMkLst>
        </pc:spChg>
        <pc:spChg chg="mod">
          <ac:chgData name="Hsueh-Ning Chao" userId="I32u27yO7tdajtqyP71sKDiQulIz6ic0z1xl0wdhUYk=" providerId="None" clId="Web-{67D21839-B25C-4B5A-8F14-A41C6BA6BAE2}" dt="2025-03-06T20:33:12.569" v="207" actId="20577"/>
          <ac:spMkLst>
            <pc:docMk/>
            <pc:sldMk cId="810637578" sldId="263"/>
            <ac:spMk id="13" creationId="{C60A1247-0AC1-E763-5FF5-906DD09F96E5}"/>
          </ac:spMkLst>
        </pc:spChg>
        <pc:spChg chg="mod">
          <ac:chgData name="Hsueh-Ning Chao" userId="I32u27yO7tdajtqyP71sKDiQulIz6ic0z1xl0wdhUYk=" providerId="None" clId="Web-{67D21839-B25C-4B5A-8F14-A41C6BA6BAE2}" dt="2025-03-06T20:20:33.154" v="109" actId="1076"/>
          <ac:spMkLst>
            <pc:docMk/>
            <pc:sldMk cId="810637578" sldId="263"/>
            <ac:spMk id="17" creationId="{C9B4D23D-7D0A-5D8B-63F7-3F63C3CE303F}"/>
          </ac:spMkLst>
        </pc:spChg>
        <pc:spChg chg="mod">
          <ac:chgData name="Hsueh-Ning Chao" userId="I32u27yO7tdajtqyP71sKDiQulIz6ic0z1xl0wdhUYk=" providerId="None" clId="Web-{67D21839-B25C-4B5A-8F14-A41C6BA6BAE2}" dt="2025-03-06T20:31:40.816" v="205" actId="20577"/>
          <ac:spMkLst>
            <pc:docMk/>
            <pc:sldMk cId="810637578" sldId="263"/>
            <ac:spMk id="18" creationId="{1169DDE9-B93C-CBBF-324B-24B2DEF9B9CB}"/>
          </ac:spMkLst>
        </pc:spChg>
        <pc:spChg chg="mod">
          <ac:chgData name="Hsueh-Ning Chao" userId="I32u27yO7tdajtqyP71sKDiQulIz6ic0z1xl0wdhUYk=" providerId="None" clId="Web-{67D21839-B25C-4B5A-8F14-A41C6BA6BAE2}" dt="2025-03-06T20:20:33.622" v="111" actId="1076"/>
          <ac:spMkLst>
            <pc:docMk/>
            <pc:sldMk cId="810637578" sldId="263"/>
            <ac:spMk id="29" creationId="{5EB35800-EDB5-0BBE-2A57-90700E72F066}"/>
          </ac:spMkLst>
        </pc:spChg>
        <pc:spChg chg="mod">
          <ac:chgData name="Hsueh-Ning Chao" userId="I32u27yO7tdajtqyP71sKDiQulIz6ic0z1xl0wdhUYk=" providerId="None" clId="Web-{67D21839-B25C-4B5A-8F14-A41C6BA6BAE2}" dt="2025-03-06T20:20:34.169" v="113" actId="1076"/>
          <ac:spMkLst>
            <pc:docMk/>
            <pc:sldMk cId="810637578" sldId="263"/>
            <ac:spMk id="31" creationId="{3663D265-9D7B-DEF2-B11B-426B2958C548}"/>
          </ac:spMkLst>
        </pc:spChg>
        <pc:spChg chg="mod">
          <ac:chgData name="Hsueh-Ning Chao" userId="I32u27yO7tdajtqyP71sKDiQulIz6ic0z1xl0wdhUYk=" providerId="None" clId="Web-{67D21839-B25C-4B5A-8F14-A41C6BA6BAE2}" dt="2025-03-06T20:20:34.404" v="114" actId="1076"/>
          <ac:spMkLst>
            <pc:docMk/>
            <pc:sldMk cId="810637578" sldId="263"/>
            <ac:spMk id="32" creationId="{EAE3474C-EF93-7076-2819-D97501639379}"/>
          </ac:spMkLst>
        </pc:spChg>
        <pc:spChg chg="mod">
          <ac:chgData name="Hsueh-Ning Chao" userId="I32u27yO7tdajtqyP71sKDiQulIz6ic0z1xl0wdhUYk=" providerId="None" clId="Web-{67D21839-B25C-4B5A-8F14-A41C6BA6BAE2}" dt="2025-03-06T20:20:34.872" v="116" actId="1076"/>
          <ac:spMkLst>
            <pc:docMk/>
            <pc:sldMk cId="810637578" sldId="263"/>
            <ac:spMk id="36" creationId="{61F725B3-72D9-2F4A-317E-CF50B6717014}"/>
          </ac:spMkLst>
        </pc:spChg>
        <pc:spChg chg="mod">
          <ac:chgData name="Hsueh-Ning Chao" userId="I32u27yO7tdajtqyP71sKDiQulIz6ic0z1xl0wdhUYk=" providerId="None" clId="Web-{67D21839-B25C-4B5A-8F14-A41C6BA6BAE2}" dt="2025-03-06T20:20:35.341" v="118" actId="1076"/>
          <ac:spMkLst>
            <pc:docMk/>
            <pc:sldMk cId="810637578" sldId="263"/>
            <ac:spMk id="38" creationId="{8E5015FF-F211-562D-8964-40A7D926CFF2}"/>
          </ac:spMkLst>
        </pc:spChg>
        <pc:spChg chg="mod">
          <ac:chgData name="Hsueh-Ning Chao" userId="I32u27yO7tdajtqyP71sKDiQulIz6ic0z1xl0wdhUYk=" providerId="None" clId="Web-{67D21839-B25C-4B5A-8F14-A41C6BA6BAE2}" dt="2025-03-06T20:20:35.544" v="119" actId="1076"/>
          <ac:spMkLst>
            <pc:docMk/>
            <pc:sldMk cId="810637578" sldId="263"/>
            <ac:spMk id="40" creationId="{586908C8-A80F-26A9-5444-7B8EDE5DD7C1}"/>
          </ac:spMkLst>
        </pc:spChg>
        <pc:spChg chg="mod">
          <ac:chgData name="Hsueh-Ning Chao" userId="I32u27yO7tdajtqyP71sKDiQulIz6ic0z1xl0wdhUYk=" providerId="None" clId="Web-{67D21839-B25C-4B5A-8F14-A41C6BA6BAE2}" dt="2025-03-06T20:20:35.763" v="120" actId="1076"/>
          <ac:spMkLst>
            <pc:docMk/>
            <pc:sldMk cId="810637578" sldId="263"/>
            <ac:spMk id="41" creationId="{916027A0-46FA-9047-D46C-A9D1352A0B91}"/>
          </ac:spMkLst>
        </pc:spChg>
        <pc:spChg chg="mod">
          <ac:chgData name="Hsueh-Ning Chao" userId="I32u27yO7tdajtqyP71sKDiQulIz6ic0z1xl0wdhUYk=" providerId="None" clId="Web-{67D21839-B25C-4B5A-8F14-A41C6BA6BAE2}" dt="2025-03-06T20:20:35.998" v="121" actId="1076"/>
          <ac:spMkLst>
            <pc:docMk/>
            <pc:sldMk cId="810637578" sldId="263"/>
            <ac:spMk id="42" creationId="{AB35A3B5-8C6B-4D74-B51E-09AEEAB2B56B}"/>
          </ac:spMkLst>
        </pc:spChg>
        <pc:spChg chg="mod">
          <ac:chgData name="Hsueh-Ning Chao" userId="I32u27yO7tdajtqyP71sKDiQulIz6ic0z1xl0wdhUYk=" providerId="None" clId="Web-{67D21839-B25C-4B5A-8F14-A41C6BA6BAE2}" dt="2025-03-06T20:20:36.216" v="122" actId="1076"/>
          <ac:spMkLst>
            <pc:docMk/>
            <pc:sldMk cId="810637578" sldId="263"/>
            <ac:spMk id="43" creationId="{8AF17DBA-7AFC-10E1-F1C6-FCC2122CC960}"/>
          </ac:spMkLst>
        </pc:spChg>
        <pc:spChg chg="mod">
          <ac:chgData name="Hsueh-Ning Chao" userId="I32u27yO7tdajtqyP71sKDiQulIz6ic0z1xl0wdhUYk=" providerId="None" clId="Web-{67D21839-B25C-4B5A-8F14-A41C6BA6BAE2}" dt="2025-03-06T20:31:21.081" v="200" actId="20577"/>
          <ac:spMkLst>
            <pc:docMk/>
            <pc:sldMk cId="810637578" sldId="263"/>
            <ac:spMk id="44" creationId="{F3358298-A61B-585C-693F-B9E05EA84E2B}"/>
          </ac:spMkLst>
        </pc:spChg>
        <pc:spChg chg="mod">
          <ac:chgData name="Hsueh-Ning Chao" userId="I32u27yO7tdajtqyP71sKDiQulIz6ic0z1xl0wdhUYk=" providerId="None" clId="Web-{67D21839-B25C-4B5A-8F14-A41C6BA6BAE2}" dt="2025-03-06T20:20:36.466" v="123" actId="1076"/>
          <ac:spMkLst>
            <pc:docMk/>
            <pc:sldMk cId="810637578" sldId="263"/>
            <ac:spMk id="45" creationId="{5F69154B-9145-BDC6-96D4-3D313DBD9140}"/>
          </ac:spMkLst>
        </pc:spChg>
        <pc:spChg chg="mod">
          <ac:chgData name="Hsueh-Ning Chao" userId="I32u27yO7tdajtqyP71sKDiQulIz6ic0z1xl0wdhUYk=" providerId="None" clId="Web-{67D21839-B25C-4B5A-8F14-A41C6BA6BAE2}" dt="2025-03-06T20:31:30.191" v="202" actId="20577"/>
          <ac:spMkLst>
            <pc:docMk/>
            <pc:sldMk cId="810637578" sldId="263"/>
            <ac:spMk id="52" creationId="{8EEC4C13-5D83-4B2A-C1AF-78E482124E2E}"/>
          </ac:spMkLst>
        </pc:spChg>
        <pc:spChg chg="add mod">
          <ac:chgData name="Hsueh-Ning Chao" userId="I32u27yO7tdajtqyP71sKDiQulIz6ic0z1xl0wdhUYk=" providerId="None" clId="Web-{67D21839-B25C-4B5A-8F14-A41C6BA6BAE2}" dt="2025-03-06T20:19:47.387" v="78" actId="20577"/>
          <ac:spMkLst>
            <pc:docMk/>
            <pc:sldMk cId="810637578" sldId="263"/>
            <ac:spMk id="59" creationId="{82BA1D31-D667-97C6-E395-BA04F488ED0A}"/>
          </ac:spMkLst>
        </pc:spChg>
        <pc:picChg chg="mod">
          <ac:chgData name="Hsueh-Ning Chao" userId="I32u27yO7tdajtqyP71sKDiQulIz6ic0z1xl0wdhUYk=" providerId="None" clId="Web-{67D21839-B25C-4B5A-8F14-A41C6BA6BAE2}" dt="2025-03-06T20:20:16.997" v="105" actId="1076"/>
          <ac:picMkLst>
            <pc:docMk/>
            <pc:sldMk cId="810637578" sldId="263"/>
            <ac:picMk id="3" creationId="{FAED5053-9F42-7076-66D3-0D0D992E7E7D}"/>
          </ac:picMkLst>
        </pc:picChg>
        <pc:picChg chg="mod">
          <ac:chgData name="Hsueh-Ning Chao" userId="I32u27yO7tdajtqyP71sKDiQulIz6ic0z1xl0wdhUYk=" providerId="None" clId="Web-{67D21839-B25C-4B5A-8F14-A41C6BA6BAE2}" dt="2025-03-06T20:20:16.153" v="101" actId="1076"/>
          <ac:picMkLst>
            <pc:docMk/>
            <pc:sldMk cId="810637578" sldId="263"/>
            <ac:picMk id="6" creationId="{17FC9AB6-0368-7A10-7759-A5B77B50E4C2}"/>
          </ac:picMkLst>
        </pc:picChg>
        <pc:picChg chg="mod">
          <ac:chgData name="Hsueh-Ning Chao" userId="I32u27yO7tdajtqyP71sKDiQulIz6ic0z1xl0wdhUYk=" providerId="None" clId="Web-{67D21839-B25C-4B5A-8F14-A41C6BA6BAE2}" dt="2025-03-06T20:20:32.888" v="108" actId="1076"/>
          <ac:picMkLst>
            <pc:docMk/>
            <pc:sldMk cId="810637578" sldId="263"/>
            <ac:picMk id="16" creationId="{0625277F-6D8C-8DFF-9705-C4FABB0C845A}"/>
          </ac:picMkLst>
        </pc:picChg>
        <pc:picChg chg="mod">
          <ac:chgData name="Hsueh-Ning Chao" userId="I32u27yO7tdajtqyP71sKDiQulIz6ic0z1xl0wdhUYk=" providerId="None" clId="Web-{67D21839-B25C-4B5A-8F14-A41C6BA6BAE2}" dt="2025-03-06T20:20:16.372" v="102" actId="1076"/>
          <ac:picMkLst>
            <pc:docMk/>
            <pc:sldMk cId="810637578" sldId="263"/>
            <ac:picMk id="19" creationId="{8CC48D3F-FACA-D61A-D8D7-53B58A14805E}"/>
          </ac:picMkLst>
        </pc:picChg>
        <pc:picChg chg="mod">
          <ac:chgData name="Hsueh-Ning Chao" userId="I32u27yO7tdajtqyP71sKDiQulIz6ic0z1xl0wdhUYk=" providerId="None" clId="Web-{67D21839-B25C-4B5A-8F14-A41C6BA6BAE2}" dt="2025-03-06T20:20:16.575" v="103" actId="1076"/>
          <ac:picMkLst>
            <pc:docMk/>
            <pc:sldMk cId="810637578" sldId="263"/>
            <ac:picMk id="20" creationId="{610A73A9-1EBF-8AC9-CDBE-6649694F9C76}"/>
          </ac:picMkLst>
        </pc:picChg>
        <pc:picChg chg="mod">
          <ac:chgData name="Hsueh-Ning Chao" userId="I32u27yO7tdajtqyP71sKDiQulIz6ic0z1xl0wdhUYk=" providerId="None" clId="Web-{67D21839-B25C-4B5A-8F14-A41C6BA6BAE2}" dt="2025-03-06T20:20:16.794" v="104" actId="1076"/>
          <ac:picMkLst>
            <pc:docMk/>
            <pc:sldMk cId="810637578" sldId="263"/>
            <ac:picMk id="21" creationId="{296A8129-2C09-0036-03D9-B21FEE148C45}"/>
          </ac:picMkLst>
        </pc:picChg>
        <pc:picChg chg="mod">
          <ac:chgData name="Hsueh-Ning Chao" userId="I32u27yO7tdajtqyP71sKDiQulIz6ic0z1xl0wdhUYk=" providerId="None" clId="Web-{67D21839-B25C-4B5A-8F14-A41C6BA6BAE2}" dt="2025-03-06T20:20:33.372" v="110" actId="1076"/>
          <ac:picMkLst>
            <pc:docMk/>
            <pc:sldMk cId="810637578" sldId="263"/>
            <ac:picMk id="28" creationId="{F8F74898-DD82-7EBE-304E-9C8EEDC013C6}"/>
          </ac:picMkLst>
        </pc:picChg>
        <pc:picChg chg="mod">
          <ac:chgData name="Hsueh-Ning Chao" userId="I32u27yO7tdajtqyP71sKDiQulIz6ic0z1xl0wdhUYk=" providerId="None" clId="Web-{67D21839-B25C-4B5A-8F14-A41C6BA6BAE2}" dt="2025-03-06T20:20:33.873" v="112" actId="1076"/>
          <ac:picMkLst>
            <pc:docMk/>
            <pc:sldMk cId="810637578" sldId="263"/>
            <ac:picMk id="30" creationId="{03E30BE5-B3CB-A039-9301-F5CFE726B255}"/>
          </ac:picMkLst>
        </pc:picChg>
        <pc:picChg chg="mod">
          <ac:chgData name="Hsueh-Ning Chao" userId="I32u27yO7tdajtqyP71sKDiQulIz6ic0z1xl0wdhUYk=" providerId="None" clId="Web-{67D21839-B25C-4B5A-8F14-A41C6BA6BAE2}" dt="2025-03-06T20:20:34.622" v="115" actId="1076"/>
          <ac:picMkLst>
            <pc:docMk/>
            <pc:sldMk cId="810637578" sldId="263"/>
            <ac:picMk id="34" creationId="{6F317624-54BB-CAB1-F192-71909F611D1B}"/>
          </ac:picMkLst>
        </pc:picChg>
        <pc:picChg chg="mod">
          <ac:chgData name="Hsueh-Ning Chao" userId="I32u27yO7tdajtqyP71sKDiQulIz6ic0z1xl0wdhUYk=" providerId="None" clId="Web-{67D21839-B25C-4B5A-8F14-A41C6BA6BAE2}" dt="2025-03-06T20:20:35.091" v="117" actId="1076"/>
          <ac:picMkLst>
            <pc:docMk/>
            <pc:sldMk cId="810637578" sldId="263"/>
            <ac:picMk id="37" creationId="{5431A585-6875-16F5-88DB-A9E4E339787C}"/>
          </ac:picMkLst>
        </pc:picChg>
        <pc:extLst>
          <p:ext xmlns:p="http://schemas.openxmlformats.org/presentationml/2006/main" uri="{D6D511B9-2390-475A-947B-AFAB55BFBCF1}">
            <pc226:cmChg xmlns:pc226="http://schemas.microsoft.com/office/powerpoint/2022/06/main/command" chg="mod">
              <pc226:chgData name="Hsueh-Ning Chao" userId="I32u27yO7tdajtqyP71sKDiQulIz6ic0z1xl0wdhUYk=" providerId="None" clId="Web-{67D21839-B25C-4B5A-8F14-A41C6BA6BAE2}" dt="2025-03-06T20:30:00.610" v="194" actId="20577"/>
              <pc2:cmMkLst xmlns:pc2="http://schemas.microsoft.com/office/powerpoint/2019/9/main/command">
                <pc:docMk/>
                <pc:sldMk cId="810637578" sldId="263"/>
                <pc2:cmMk id="{E0558DB1-E828-415A-BF3F-74D97FC8535A}"/>
              </pc2:cmMkLst>
            </pc226:cmChg>
          </p:ext>
        </pc:extLst>
      </pc:sldChg>
    </pc:docChg>
  </pc:docChgLst>
  <pc:docChgLst>
    <pc:chgData name="Ananth Mohan" userId="0+ntHPCRoNBLvPdhBUzfljBEc8fje1ZhpS6eiRuEUeE=" providerId="None" clId="Web-{91F67903-AA1C-4478-99DB-615EAE907170}"/>
    <pc:docChg chg="modSld">
      <pc:chgData name="Ananth Mohan" userId="0+ntHPCRoNBLvPdhBUzfljBEc8fje1ZhpS6eiRuEUeE=" providerId="None" clId="Web-{91F67903-AA1C-4478-99DB-615EAE907170}" dt="2025-03-06T21:18:51.622" v="0" actId="14100"/>
      <pc:docMkLst>
        <pc:docMk/>
      </pc:docMkLst>
      <pc:sldChg chg="modSp">
        <pc:chgData name="Ananth Mohan" userId="0+ntHPCRoNBLvPdhBUzfljBEc8fje1ZhpS6eiRuEUeE=" providerId="None" clId="Web-{91F67903-AA1C-4478-99DB-615EAE907170}" dt="2025-03-06T21:18:51.622" v="0" actId="14100"/>
        <pc:sldMkLst>
          <pc:docMk/>
          <pc:sldMk cId="810637578" sldId="263"/>
        </pc:sldMkLst>
        <pc:picChg chg="mod">
          <ac:chgData name="Ananth Mohan" userId="0+ntHPCRoNBLvPdhBUzfljBEc8fje1ZhpS6eiRuEUeE=" providerId="None" clId="Web-{91F67903-AA1C-4478-99DB-615EAE907170}" dt="2025-03-06T21:18:51.622" v="0" actId="14100"/>
          <ac:picMkLst>
            <pc:docMk/>
            <pc:sldMk cId="810637578" sldId="263"/>
            <ac:picMk id="4" creationId="{486A0C58-EC79-1171-04D5-69D65D61C307}"/>
          </ac:picMkLst>
        </pc:picChg>
      </pc:sldChg>
    </pc:docChg>
  </pc:docChgLst>
  <pc:docChgLst>
    <pc:chgData name="Tanvir Ahmed Farook" userId="TCYBb3uSJ+bdHYXHvL8inqj6VAMXLD9G89AUjqTPq2w=" providerId="None" clId="Web-{974C221A-179C-48C1-9836-4656C9AF94C7}"/>
    <pc:docChg chg="modSld">
      <pc:chgData name="Tanvir Ahmed Farook" userId="TCYBb3uSJ+bdHYXHvL8inqj6VAMXLD9G89AUjqTPq2w=" providerId="None" clId="Web-{974C221A-179C-48C1-9836-4656C9AF94C7}" dt="2025-03-06T20:45:47.804" v="0" actId="14100"/>
      <pc:docMkLst>
        <pc:docMk/>
      </pc:docMkLst>
      <pc:sldChg chg="modSp">
        <pc:chgData name="Tanvir Ahmed Farook" userId="TCYBb3uSJ+bdHYXHvL8inqj6VAMXLD9G89AUjqTPq2w=" providerId="None" clId="Web-{974C221A-179C-48C1-9836-4656C9AF94C7}" dt="2025-03-06T20:45:47.804" v="0" actId="14100"/>
        <pc:sldMkLst>
          <pc:docMk/>
          <pc:sldMk cId="810637578" sldId="263"/>
        </pc:sldMkLst>
        <pc:picChg chg="mod">
          <ac:chgData name="Tanvir Ahmed Farook" userId="TCYBb3uSJ+bdHYXHvL8inqj6VAMXLD9G89AUjqTPq2w=" providerId="None" clId="Web-{974C221A-179C-48C1-9836-4656C9AF94C7}" dt="2025-03-06T20:45:47.804" v="0" actId="14100"/>
          <ac:picMkLst>
            <pc:docMk/>
            <pc:sldMk cId="810637578" sldId="263"/>
            <ac:picMk id="4" creationId="{486A0C58-EC79-1171-04D5-69D65D61C307}"/>
          </ac:picMkLst>
        </pc:picChg>
      </pc:sldChg>
    </pc:docChg>
  </pc:docChgLst>
  <pc:docChgLst>
    <pc:chgData name="Yao Liu" userId="De98wOxqXTFY8++esdgi1+Besv75b2e3DCsfKbqDwqA=" providerId="None" clId="Web-{1030B5E7-597D-4D89-81BC-F0AA9B7AC66D}"/>
    <pc:docChg chg="modSld">
      <pc:chgData name="Yao Liu" userId="De98wOxqXTFY8++esdgi1+Besv75b2e3DCsfKbqDwqA=" providerId="None" clId="Web-{1030B5E7-597D-4D89-81BC-F0AA9B7AC66D}" dt="2025-03-06T20:55:21.522" v="16" actId="1076"/>
      <pc:docMkLst>
        <pc:docMk/>
      </pc:docMkLst>
      <pc:sldChg chg="modSp">
        <pc:chgData name="Yao Liu" userId="De98wOxqXTFY8++esdgi1+Besv75b2e3DCsfKbqDwqA=" providerId="None" clId="Web-{1030B5E7-597D-4D89-81BC-F0AA9B7AC66D}" dt="2025-03-06T20:55:21.522" v="16" actId="1076"/>
        <pc:sldMkLst>
          <pc:docMk/>
          <pc:sldMk cId="810637578" sldId="263"/>
        </pc:sldMkLst>
        <pc:picChg chg="mod">
          <ac:chgData name="Yao Liu" userId="De98wOxqXTFY8++esdgi1+Besv75b2e3DCsfKbqDwqA=" providerId="None" clId="Web-{1030B5E7-597D-4D89-81BC-F0AA9B7AC66D}" dt="2025-03-06T20:55:21.522" v="16" actId="1076"/>
          <ac:picMkLst>
            <pc:docMk/>
            <pc:sldMk cId="810637578" sldId="263"/>
            <ac:picMk id="113" creationId="{F18D496A-11C0-2F8D-34D1-C357C346DC53}"/>
          </ac:picMkLst>
        </pc:picChg>
        <pc:picChg chg="mod">
          <ac:chgData name="Yao Liu" userId="De98wOxqXTFY8++esdgi1+Besv75b2e3DCsfKbqDwqA=" providerId="None" clId="Web-{1030B5E7-597D-4D89-81BC-F0AA9B7AC66D}" dt="2025-03-06T20:55:12.897" v="14" actId="1076"/>
          <ac:picMkLst>
            <pc:docMk/>
            <pc:sldMk cId="810637578" sldId="263"/>
            <ac:picMk id="119" creationId="{807D2418-034A-EAC4-2825-D4DB770A0295}"/>
          </ac:picMkLst>
        </pc:picChg>
        <pc:picChg chg="mod">
          <ac:chgData name="Yao Liu" userId="De98wOxqXTFY8++esdgi1+Besv75b2e3DCsfKbqDwqA=" providerId="None" clId="Web-{1030B5E7-597D-4D89-81BC-F0AA9B7AC66D}" dt="2025-03-06T20:51:52.085" v="2" actId="14100"/>
          <ac:picMkLst>
            <pc:docMk/>
            <pc:sldMk cId="810637578" sldId="263"/>
            <ac:picMk id="135" creationId="{B51AE199-CA1B-61A5-524E-4E32922D6E5C}"/>
          </ac:picMkLst>
        </pc:picChg>
        <pc:picChg chg="mod">
          <ac:chgData name="Yao Liu" userId="De98wOxqXTFY8++esdgi1+Besv75b2e3DCsfKbqDwqA=" providerId="None" clId="Web-{1030B5E7-597D-4D89-81BC-F0AA9B7AC66D}" dt="2025-03-06T20:51:46.397" v="1" actId="14100"/>
          <ac:picMkLst>
            <pc:docMk/>
            <pc:sldMk cId="810637578" sldId="263"/>
            <ac:picMk id="136" creationId="{05916903-9926-EC8C-54D0-971BAC4860ED}"/>
          </ac:picMkLst>
        </pc:picChg>
        <pc:picChg chg="mod">
          <ac:chgData name="Yao Liu" userId="De98wOxqXTFY8++esdgi1+Besv75b2e3DCsfKbqDwqA=" providerId="None" clId="Web-{1030B5E7-597D-4D89-81BC-F0AA9B7AC66D}" dt="2025-03-06T20:52:23.272" v="8" actId="1076"/>
          <ac:picMkLst>
            <pc:docMk/>
            <pc:sldMk cId="810637578" sldId="263"/>
            <ac:picMk id="137" creationId="{FD36B874-DD99-19AC-936B-E99ECCB3DD1D}"/>
          </ac:picMkLst>
        </pc:picChg>
        <pc:picChg chg="mod">
          <ac:chgData name="Yao Liu" userId="De98wOxqXTFY8++esdgi1+Besv75b2e3DCsfKbqDwqA=" providerId="None" clId="Web-{1030B5E7-597D-4D89-81BC-F0AA9B7AC66D}" dt="2025-03-06T20:51:56.272" v="3" actId="1076"/>
          <ac:picMkLst>
            <pc:docMk/>
            <pc:sldMk cId="810637578" sldId="263"/>
            <ac:picMk id="138" creationId="{6CDE29A6-44D3-349D-1214-56EFAAE8F226}"/>
          </ac:picMkLst>
        </pc:picChg>
        <pc:picChg chg="mod">
          <ac:chgData name="Yao Liu" userId="De98wOxqXTFY8++esdgi1+Besv75b2e3DCsfKbqDwqA=" providerId="None" clId="Web-{1030B5E7-597D-4D89-81BC-F0AA9B7AC66D}" dt="2025-03-06T20:52:00.600" v="4" actId="1076"/>
          <ac:picMkLst>
            <pc:docMk/>
            <pc:sldMk cId="810637578" sldId="263"/>
            <ac:picMk id="140" creationId="{89BEF956-BD3D-ACEA-2539-B3B702E603DB}"/>
          </ac:picMkLst>
        </pc:picChg>
      </pc:sldChg>
    </pc:docChg>
  </pc:docChgLst>
  <pc:docChgLst>
    <pc:chgData name="Farha Shireen" userId="K9hHn9oINz5vZ9EtNhWdkbocU8fYfQRPeYvfmnVYJ7Q=" providerId="None" clId="Web-{2BD199B2-1D59-4220-B9D7-A79648E4EEC0}"/>
    <pc:docChg chg="modSld">
      <pc:chgData name="Farha Shireen" userId="K9hHn9oINz5vZ9EtNhWdkbocU8fYfQRPeYvfmnVYJ7Q=" providerId="None" clId="Web-{2BD199B2-1D59-4220-B9D7-A79648E4EEC0}" dt="2025-03-06T21:18:30.207" v="30" actId="1076"/>
      <pc:docMkLst>
        <pc:docMk/>
      </pc:docMkLst>
      <pc:sldChg chg="delSp modSp">
        <pc:chgData name="Farha Shireen" userId="K9hHn9oINz5vZ9EtNhWdkbocU8fYfQRPeYvfmnVYJ7Q=" providerId="None" clId="Web-{2BD199B2-1D59-4220-B9D7-A79648E4EEC0}" dt="2025-03-06T21:18:30.207" v="30" actId="1076"/>
        <pc:sldMkLst>
          <pc:docMk/>
          <pc:sldMk cId="810637578" sldId="263"/>
        </pc:sldMkLst>
        <pc:spChg chg="mod">
          <ac:chgData name="Farha Shireen" userId="K9hHn9oINz5vZ9EtNhWdkbocU8fYfQRPeYvfmnVYJ7Q=" providerId="None" clId="Web-{2BD199B2-1D59-4220-B9D7-A79648E4EEC0}" dt="2025-03-06T21:18:30.207" v="30" actId="1076"/>
          <ac:spMkLst>
            <pc:docMk/>
            <pc:sldMk cId="810637578" sldId="263"/>
            <ac:spMk id="144" creationId="{7A944E77-0F91-A2B8-D59F-8AACC1B5F480}"/>
          </ac:spMkLst>
        </pc:spChg>
        <pc:picChg chg="mod">
          <ac:chgData name="Farha Shireen" userId="K9hHn9oINz5vZ9EtNhWdkbocU8fYfQRPeYvfmnVYJ7Q=" providerId="None" clId="Web-{2BD199B2-1D59-4220-B9D7-A79648E4EEC0}" dt="2025-03-06T21:15:55.343" v="27" actId="1076"/>
          <ac:picMkLst>
            <pc:docMk/>
            <pc:sldMk cId="810637578" sldId="263"/>
            <ac:picMk id="4" creationId="{486A0C58-EC79-1171-04D5-69D65D61C307}"/>
          </ac:picMkLst>
        </pc:picChg>
        <pc:picChg chg="mod">
          <ac:chgData name="Farha Shireen" userId="K9hHn9oINz5vZ9EtNhWdkbocU8fYfQRPeYvfmnVYJ7Q=" providerId="None" clId="Web-{2BD199B2-1D59-4220-B9D7-A79648E4EEC0}" dt="2025-03-06T21:06:36.877" v="15" actId="1076"/>
          <ac:picMkLst>
            <pc:docMk/>
            <pc:sldMk cId="810637578" sldId="263"/>
            <ac:picMk id="85" creationId="{68C5030D-DD6A-FAB4-1980-5C1A5FD0E30E}"/>
          </ac:picMkLst>
        </pc:picChg>
        <pc:picChg chg="mod">
          <ac:chgData name="Farha Shireen" userId="K9hHn9oINz5vZ9EtNhWdkbocU8fYfQRPeYvfmnVYJ7Q=" providerId="None" clId="Web-{2BD199B2-1D59-4220-B9D7-A79648E4EEC0}" dt="2025-03-06T21:14:25.232" v="24" actId="1076"/>
          <ac:picMkLst>
            <pc:docMk/>
            <pc:sldMk cId="810637578" sldId="263"/>
            <ac:picMk id="126" creationId="{181ED16E-A00F-F235-9D93-37F520A31C96}"/>
          </ac:picMkLst>
        </pc:picChg>
        <pc:picChg chg="mod">
          <ac:chgData name="Farha Shireen" userId="K9hHn9oINz5vZ9EtNhWdkbocU8fYfQRPeYvfmnVYJ7Q=" providerId="None" clId="Web-{2BD199B2-1D59-4220-B9D7-A79648E4EEC0}" dt="2025-03-06T21:16:21.719" v="29" actId="1076"/>
          <ac:picMkLst>
            <pc:docMk/>
            <pc:sldMk cId="810637578" sldId="263"/>
            <ac:picMk id="128" creationId="{AC948E2B-A3B9-4653-E89C-79DA1082D059}"/>
          </ac:picMkLst>
        </pc:picChg>
        <pc:picChg chg="mod">
          <ac:chgData name="Farha Shireen" userId="K9hHn9oINz5vZ9EtNhWdkbocU8fYfQRPeYvfmnVYJ7Q=" providerId="None" clId="Web-{2BD199B2-1D59-4220-B9D7-A79648E4EEC0}" dt="2025-03-06T21:07:27.034" v="18" actId="1076"/>
          <ac:picMkLst>
            <pc:docMk/>
            <pc:sldMk cId="810637578" sldId="263"/>
            <ac:picMk id="135" creationId="{B51AE199-CA1B-61A5-524E-4E32922D6E5C}"/>
          </ac:picMkLst>
        </pc:picChg>
        <pc:picChg chg="del mod">
          <ac:chgData name="Farha Shireen" userId="K9hHn9oINz5vZ9EtNhWdkbocU8fYfQRPeYvfmnVYJ7Q=" providerId="None" clId="Web-{2BD199B2-1D59-4220-B9D7-A79648E4EEC0}" dt="2025-03-06T21:05:42.328" v="11"/>
          <ac:picMkLst>
            <pc:docMk/>
            <pc:sldMk cId="810637578" sldId="263"/>
            <ac:picMk id="136" creationId="{05916903-9926-EC8C-54D0-971BAC4860ED}"/>
          </ac:picMkLst>
        </pc:picChg>
        <pc:picChg chg="mod">
          <ac:chgData name="Farha Shireen" userId="K9hHn9oINz5vZ9EtNhWdkbocU8fYfQRPeYvfmnVYJ7Q=" providerId="None" clId="Web-{2BD199B2-1D59-4220-B9D7-A79648E4EEC0}" dt="2025-03-06T21:07:08.752" v="16" actId="1076"/>
          <ac:picMkLst>
            <pc:docMk/>
            <pc:sldMk cId="810637578" sldId="263"/>
            <ac:picMk id="138" creationId="{6CDE29A6-44D3-349D-1214-56EFAAE8F226}"/>
          </ac:picMkLst>
        </pc:picChg>
      </pc:sldChg>
    </pc:docChg>
  </pc:docChgLst>
  <pc:docChgLst>
    <pc:chgData name="Tanvir Ahmed Farook" userId="TCYBb3uSJ+bdHYXHvL8inqj6VAMXLD9G89AUjqTPq2w=" providerId="None" clId="Web-{4E16FDEE-E3DD-4367-9CB9-2BF3CEE25360}"/>
    <pc:docChg chg="modSld">
      <pc:chgData name="Tanvir Ahmed Farook" userId="TCYBb3uSJ+bdHYXHvL8inqj6VAMXLD9G89AUjqTPq2w=" providerId="None" clId="Web-{4E16FDEE-E3DD-4367-9CB9-2BF3CEE25360}" dt="2025-03-06T20:42:01.794" v="20" actId="14100"/>
      <pc:docMkLst>
        <pc:docMk/>
      </pc:docMkLst>
      <pc:sldChg chg="addSp delSp modSp">
        <pc:chgData name="Tanvir Ahmed Farook" userId="TCYBb3uSJ+bdHYXHvL8inqj6VAMXLD9G89AUjqTPq2w=" providerId="None" clId="Web-{4E16FDEE-E3DD-4367-9CB9-2BF3CEE25360}" dt="2025-03-06T20:42:01.794" v="20" actId="14100"/>
        <pc:sldMkLst>
          <pc:docMk/>
          <pc:sldMk cId="810637578" sldId="263"/>
        </pc:sldMkLst>
        <pc:picChg chg="mod">
          <ac:chgData name="Tanvir Ahmed Farook" userId="TCYBb3uSJ+bdHYXHvL8inqj6VAMXLD9G89AUjqTPq2w=" providerId="None" clId="Web-{4E16FDEE-E3DD-4367-9CB9-2BF3CEE25360}" dt="2025-03-06T20:42:01.794" v="20" actId="14100"/>
          <ac:picMkLst>
            <pc:docMk/>
            <pc:sldMk cId="810637578" sldId="263"/>
            <ac:picMk id="4" creationId="{486A0C58-EC79-1171-04D5-69D65D61C307}"/>
          </ac:picMkLst>
        </pc:picChg>
        <pc:picChg chg="mod">
          <ac:chgData name="Tanvir Ahmed Farook" userId="TCYBb3uSJ+bdHYXHvL8inqj6VAMXLD9G89AUjqTPq2w=" providerId="None" clId="Web-{4E16FDEE-E3DD-4367-9CB9-2BF3CEE25360}" dt="2025-03-06T20:41:19.699" v="19" actId="1076"/>
          <ac:picMkLst>
            <pc:docMk/>
            <pc:sldMk cId="810637578" sldId="263"/>
            <ac:picMk id="78" creationId="{62B959F5-455A-655F-F161-6252FB0D6268}"/>
          </ac:picMkLst>
        </pc:picChg>
        <pc:picChg chg="del">
          <ac:chgData name="Tanvir Ahmed Farook" userId="TCYBb3uSJ+bdHYXHvL8inqj6VAMXLD9G89AUjqTPq2w=" providerId="None" clId="Web-{4E16FDEE-E3DD-4367-9CB9-2BF3CEE25360}" dt="2025-03-06T20:40:46.869" v="13"/>
          <ac:picMkLst>
            <pc:docMk/>
            <pc:sldMk cId="810637578" sldId="263"/>
            <ac:picMk id="85" creationId="{E953E701-0539-7D31-6310-E5C121F80CCB}"/>
          </ac:picMkLst>
        </pc:picChg>
        <pc:picChg chg="add del mod">
          <ac:chgData name="Tanvir Ahmed Farook" userId="TCYBb3uSJ+bdHYXHvL8inqj6VAMXLD9G89AUjqTPq2w=" providerId="None" clId="Web-{4E16FDEE-E3DD-4367-9CB9-2BF3CEE25360}" dt="2025-03-06T20:40:01.040" v="8"/>
          <ac:picMkLst>
            <pc:docMk/>
            <pc:sldMk cId="810637578" sldId="263"/>
            <ac:picMk id="104" creationId="{57719535-E9FC-5639-736E-07DC83E5A15C}"/>
          </ac:picMkLst>
        </pc:picChg>
        <pc:picChg chg="add mod">
          <ac:chgData name="Tanvir Ahmed Farook" userId="TCYBb3uSJ+bdHYXHvL8inqj6VAMXLD9G89AUjqTPq2w=" providerId="None" clId="Web-{4E16FDEE-E3DD-4367-9CB9-2BF3CEE25360}" dt="2025-03-06T20:41:15.620" v="18" actId="1076"/>
          <ac:picMkLst>
            <pc:docMk/>
            <pc:sldMk cId="810637578" sldId="263"/>
            <ac:picMk id="128" creationId="{AC948E2B-A3B9-4653-E89C-79DA1082D059}"/>
          </ac:picMkLst>
        </pc:picChg>
      </pc:sldChg>
    </pc:docChg>
  </pc:docChgLst>
  <pc:docChgLst>
    <pc:chgData name="Farha Shireen" userId="K9hHn9oINz5vZ9EtNhWdkbocU8fYfQRPeYvfmnVYJ7Q=" providerId="None" clId="Web-{1598BE00-65BB-4CFC-8647-DB5515D1E4F2}"/>
    <pc:docChg chg="modSld">
      <pc:chgData name="Farha Shireen" userId="K9hHn9oINz5vZ9EtNhWdkbocU8fYfQRPeYvfmnVYJ7Q=" providerId="None" clId="Web-{1598BE00-65BB-4CFC-8647-DB5515D1E4F2}" dt="2025-03-06T21:02:31.823" v="49"/>
      <pc:docMkLst>
        <pc:docMk/>
      </pc:docMkLst>
      <pc:sldChg chg="addSp delSp modSp modCm">
        <pc:chgData name="Farha Shireen" userId="K9hHn9oINz5vZ9EtNhWdkbocU8fYfQRPeYvfmnVYJ7Q=" providerId="None" clId="Web-{1598BE00-65BB-4CFC-8647-DB5515D1E4F2}" dt="2025-03-06T21:02:31.823" v="49"/>
        <pc:sldMkLst>
          <pc:docMk/>
          <pc:sldMk cId="810637578" sldId="263"/>
        </pc:sldMkLst>
        <pc:spChg chg="mod">
          <ac:chgData name="Farha Shireen" userId="K9hHn9oINz5vZ9EtNhWdkbocU8fYfQRPeYvfmnVYJ7Q=" providerId="None" clId="Web-{1598BE00-65BB-4CFC-8647-DB5515D1E4F2}" dt="2025-03-06T19:38:29.218" v="6" actId="20577"/>
          <ac:spMkLst>
            <pc:docMk/>
            <pc:sldMk cId="810637578" sldId="263"/>
            <ac:spMk id="7" creationId="{299ECDEE-127D-9631-CFAC-5C6299E4ECA3}"/>
          </ac:spMkLst>
        </pc:spChg>
        <pc:graphicFrameChg chg="mod modGraphic">
          <ac:chgData name="Farha Shireen" userId="K9hHn9oINz5vZ9EtNhWdkbocU8fYfQRPeYvfmnVYJ7Q=" providerId="None" clId="Web-{1598BE00-65BB-4CFC-8647-DB5515D1E4F2}" dt="2025-03-06T19:48:52.418" v="46"/>
          <ac:graphicFrameMkLst>
            <pc:docMk/>
            <pc:sldMk cId="810637578" sldId="263"/>
            <ac:graphicFrameMk id="59" creationId="{6C68D193-3D06-18DE-91FA-EC00A48BD7EC}"/>
          </ac:graphicFrameMkLst>
        </pc:graphicFrameChg>
        <pc:picChg chg="mod">
          <ac:chgData name="Farha Shireen" userId="K9hHn9oINz5vZ9EtNhWdkbocU8fYfQRPeYvfmnVYJ7Q=" providerId="None" clId="Web-{1598BE00-65BB-4CFC-8647-DB5515D1E4F2}" dt="2025-03-06T19:28:02.455" v="5" actId="14100"/>
          <ac:picMkLst>
            <pc:docMk/>
            <pc:sldMk cId="810637578" sldId="263"/>
            <ac:picMk id="14" creationId="{900E130A-D877-0C2B-35B0-32ABB9065263}"/>
          </ac:picMkLst>
        </pc:picChg>
        <pc:picChg chg="add mod">
          <ac:chgData name="Farha Shireen" userId="K9hHn9oINz5vZ9EtNhWdkbocU8fYfQRPeYvfmnVYJ7Q=" providerId="None" clId="Web-{1598BE00-65BB-4CFC-8647-DB5515D1E4F2}" dt="2025-03-06T19:27:51.956" v="4" actId="1076"/>
          <ac:picMkLst>
            <pc:docMk/>
            <pc:sldMk cId="810637578" sldId="263"/>
            <ac:picMk id="26" creationId="{2AE8269C-556B-4FB1-2053-3662EBC690EB}"/>
          </ac:picMkLst>
        </pc:picChg>
        <pc:picChg chg="mod">
          <ac:chgData name="Farha Shireen" userId="K9hHn9oINz5vZ9EtNhWdkbocU8fYfQRPeYvfmnVYJ7Q=" providerId="None" clId="Web-{1598BE00-65BB-4CFC-8647-DB5515D1E4F2}" dt="2025-03-06T19:26:36.315" v="0" actId="1076"/>
          <ac:picMkLst>
            <pc:docMk/>
            <pc:sldMk cId="810637578" sldId="263"/>
            <ac:picMk id="93" creationId="{2D5901A8-A86F-96B7-CF67-F66F23C76971}"/>
          </ac:picMkLst>
        </pc:picChg>
        <pc:picChg chg="add del mod">
          <ac:chgData name="Farha Shireen" userId="K9hHn9oINz5vZ9EtNhWdkbocU8fYfQRPeYvfmnVYJ7Q=" providerId="None" clId="Web-{1598BE00-65BB-4CFC-8647-DB5515D1E4F2}" dt="2025-03-06T21:02:31.823" v="49"/>
          <ac:picMkLst>
            <pc:docMk/>
            <pc:sldMk cId="810637578" sldId="263"/>
            <ac:picMk id="96" creationId="{47A11FFF-FFFA-10EE-CF20-E750C457E52F}"/>
          </ac:picMkLst>
        </pc:picChg>
        <pc:extLst>
          <p:ext xmlns:p="http://schemas.openxmlformats.org/presentationml/2006/main" uri="{D6D511B9-2390-475A-947B-AFAB55BFBCF1}">
            <pc226:cmChg xmlns:pc226="http://schemas.microsoft.com/office/powerpoint/2022/06/main/command" chg="mod">
              <pc226:chgData name="Farha Shireen" userId="K9hHn9oINz5vZ9EtNhWdkbocU8fYfQRPeYvfmnVYJ7Q=" providerId="None" clId="Web-{1598BE00-65BB-4CFC-8647-DB5515D1E4F2}" dt="2025-03-06T19:47:00.340" v="7"/>
              <pc2:cmMkLst xmlns:pc2="http://schemas.microsoft.com/office/powerpoint/2019/9/main/command">
                <pc:docMk/>
                <pc:sldMk cId="810637578" sldId="263"/>
                <pc2:cmMk id="{E0558DB1-E828-415A-BF3F-74D97FC8535A}"/>
              </pc2:cmMkLst>
            </pc226:cmChg>
          </p:ext>
        </pc:extLst>
      </pc:sldChg>
    </pc:docChg>
  </pc:docChgLst>
  <pc:docChgLst>
    <pc:chgData name="Hsueh-Ning Chao" userId="I32u27yO7tdajtqyP71sKDiQulIz6ic0z1xl0wdhUYk=" providerId="None" clId="Web-{C6E0DDDF-1B7B-482C-885E-A0004BD14DF5}"/>
    <pc:docChg chg="mod modSld">
      <pc:chgData name="Hsueh-Ning Chao" userId="I32u27yO7tdajtqyP71sKDiQulIz6ic0z1xl0wdhUYk=" providerId="None" clId="Web-{C6E0DDDF-1B7B-482C-885E-A0004BD14DF5}" dt="2025-03-06T16:40:31.918" v="125" actId="20577"/>
      <pc:docMkLst>
        <pc:docMk/>
      </pc:docMkLst>
      <pc:sldChg chg="modSp">
        <pc:chgData name="Hsueh-Ning Chao" userId="I32u27yO7tdajtqyP71sKDiQulIz6ic0z1xl0wdhUYk=" providerId="None" clId="Web-{C6E0DDDF-1B7B-482C-885E-A0004BD14DF5}" dt="2025-03-06T16:40:31.918" v="125" actId="20577"/>
        <pc:sldMkLst>
          <pc:docMk/>
          <pc:sldMk cId="810637578" sldId="263"/>
        </pc:sldMkLst>
        <pc:spChg chg="mod">
          <ac:chgData name="Hsueh-Ning Chao" userId="I32u27yO7tdajtqyP71sKDiQulIz6ic0z1xl0wdhUYk=" providerId="None" clId="Web-{C6E0DDDF-1B7B-482C-885E-A0004BD14DF5}" dt="2025-03-06T16:40:31.918" v="125" actId="20577"/>
          <ac:spMkLst>
            <pc:docMk/>
            <pc:sldMk cId="810637578" sldId="263"/>
            <ac:spMk id="49" creationId="{607C8AF3-E134-057E-35D7-F14B9338B342}"/>
          </ac:spMkLst>
        </pc:spChg>
        <pc:graphicFrameChg chg="mod modGraphic">
          <ac:chgData name="Hsueh-Ning Chao" userId="I32u27yO7tdajtqyP71sKDiQulIz6ic0z1xl0wdhUYk=" providerId="None" clId="Web-{C6E0DDDF-1B7B-482C-885E-A0004BD14DF5}" dt="2025-03-06T15:55:43.518" v="86"/>
          <ac:graphicFrameMkLst>
            <pc:docMk/>
            <pc:sldMk cId="810637578" sldId="263"/>
            <ac:graphicFrameMk id="22" creationId="{5B594D09-B3D6-9151-40B6-4E402FEABE42}"/>
          </ac:graphicFrameMkLst>
        </pc:graphicFrameChg>
      </pc:sldChg>
    </pc:docChg>
  </pc:docChgLst>
  <pc:docChgLst>
    <pc:chgData name="Yao Liu" userId="De98wOxqXTFY8++esdgi1+Besv75b2e3DCsfKbqDwqA=" providerId="None" clId="Web-{BFD1BC6B-4E12-4594-8F21-BD13BE733E7E}"/>
    <pc:docChg chg="modSld">
      <pc:chgData name="Yao Liu" userId="De98wOxqXTFY8++esdgi1+Besv75b2e3DCsfKbqDwqA=" providerId="None" clId="Web-{BFD1BC6B-4E12-4594-8F21-BD13BE733E7E}" dt="2025-03-06T20:18:54.892" v="243" actId="20577"/>
      <pc:docMkLst>
        <pc:docMk/>
      </pc:docMkLst>
      <pc:sldChg chg="addSp delSp modSp modCm">
        <pc:chgData name="Yao Liu" userId="De98wOxqXTFY8++esdgi1+Besv75b2e3DCsfKbqDwqA=" providerId="None" clId="Web-{BFD1BC6B-4E12-4594-8F21-BD13BE733E7E}" dt="2025-03-06T20:18:54.892" v="243" actId="20577"/>
        <pc:sldMkLst>
          <pc:docMk/>
          <pc:sldMk cId="810637578" sldId="263"/>
        </pc:sldMkLst>
        <pc:spChg chg="add del mod">
          <ac:chgData name="Yao Liu" userId="De98wOxqXTFY8++esdgi1+Besv75b2e3DCsfKbqDwqA=" providerId="None" clId="Web-{BFD1BC6B-4E12-4594-8F21-BD13BE733E7E}" dt="2025-03-06T20:12:04.195" v="33"/>
          <ac:spMkLst>
            <pc:docMk/>
            <pc:sldMk cId="810637578" sldId="263"/>
            <ac:spMk id="2" creationId="{89880E96-9E43-9B0F-3022-76667AF5F383}"/>
          </ac:spMkLst>
        </pc:spChg>
        <pc:spChg chg="mod">
          <ac:chgData name="Yao Liu" userId="De98wOxqXTFY8++esdgi1+Besv75b2e3DCsfKbqDwqA=" providerId="None" clId="Web-{BFD1BC6B-4E12-4594-8F21-BD13BE733E7E}" dt="2025-03-06T20:18:28.266" v="209" actId="1076"/>
          <ac:spMkLst>
            <pc:docMk/>
            <pc:sldMk cId="810637578" sldId="263"/>
            <ac:spMk id="8" creationId="{7C64A13A-A6CE-0BCC-E048-7856D21CA329}"/>
          </ac:spMkLst>
        </pc:spChg>
        <pc:spChg chg="mod">
          <ac:chgData name="Yao Liu" userId="De98wOxqXTFY8++esdgi1+Besv75b2e3DCsfKbqDwqA=" providerId="None" clId="Web-{BFD1BC6B-4E12-4594-8F21-BD13BE733E7E}" dt="2025-03-06T20:18:32.126" v="228" actId="1076"/>
          <ac:spMkLst>
            <pc:docMk/>
            <pc:sldMk cId="810637578" sldId="263"/>
            <ac:spMk id="23" creationId="{E665D016-5F0B-4BBA-2B17-E7F1A7822206}"/>
          </ac:spMkLst>
        </pc:spChg>
        <pc:spChg chg="mod">
          <ac:chgData name="Yao Liu" userId="De98wOxqXTFY8++esdgi1+Besv75b2e3DCsfKbqDwqA=" providerId="None" clId="Web-{BFD1BC6B-4E12-4594-8F21-BD13BE733E7E}" dt="2025-03-06T20:18:32.313" v="229" actId="1076"/>
          <ac:spMkLst>
            <pc:docMk/>
            <pc:sldMk cId="810637578" sldId="263"/>
            <ac:spMk id="27" creationId="{B5DBB932-36CC-D676-C85C-33A719023472}"/>
          </ac:spMkLst>
        </pc:spChg>
        <pc:spChg chg="mod">
          <ac:chgData name="Yao Liu" userId="De98wOxqXTFY8++esdgi1+Besv75b2e3DCsfKbqDwqA=" providerId="None" clId="Web-{BFD1BC6B-4E12-4594-8F21-BD13BE733E7E}" dt="2025-03-06T20:18:32.516" v="230" actId="1076"/>
          <ac:spMkLst>
            <pc:docMk/>
            <pc:sldMk cId="810637578" sldId="263"/>
            <ac:spMk id="33" creationId="{40FF7FE5-73F7-3C69-89FF-35F7276803F3}"/>
          </ac:spMkLst>
        </pc:spChg>
        <pc:spChg chg="mod">
          <ac:chgData name="Yao Liu" userId="De98wOxqXTFY8++esdgi1+Besv75b2e3DCsfKbqDwqA=" providerId="None" clId="Web-{BFD1BC6B-4E12-4594-8F21-BD13BE733E7E}" dt="2025-03-06T20:10:17.958" v="24" actId="14100"/>
          <ac:spMkLst>
            <pc:docMk/>
            <pc:sldMk cId="810637578" sldId="263"/>
            <ac:spMk id="47" creationId="{07E0DD1A-7B39-59B9-3A3A-EA3C42D7D74A}"/>
          </ac:spMkLst>
        </pc:spChg>
        <pc:spChg chg="add mod">
          <ac:chgData name="Yao Liu" userId="De98wOxqXTFY8++esdgi1+Besv75b2e3DCsfKbqDwqA=" providerId="None" clId="Web-{BFD1BC6B-4E12-4594-8F21-BD13BE733E7E}" dt="2025-03-06T20:15:38.012" v="55" actId="1076"/>
          <ac:spMkLst>
            <pc:docMk/>
            <pc:sldMk cId="810637578" sldId="263"/>
            <ac:spMk id="50" creationId="{BAC9CA12-09CF-9DCF-28D3-F6E0885417D0}"/>
          </ac:spMkLst>
        </pc:spChg>
        <pc:spChg chg="mod">
          <ac:chgData name="Yao Liu" userId="De98wOxqXTFY8++esdgi1+Besv75b2e3DCsfKbqDwqA=" providerId="None" clId="Web-{BFD1BC6B-4E12-4594-8F21-BD13BE733E7E}" dt="2025-03-06T20:07:44.657" v="14" actId="20577"/>
          <ac:spMkLst>
            <pc:docMk/>
            <pc:sldMk cId="810637578" sldId="263"/>
            <ac:spMk id="52" creationId="{8EEC4C13-5D83-4B2A-C1AF-78E482124E2E}"/>
          </ac:spMkLst>
        </pc:spChg>
        <pc:spChg chg="mod">
          <ac:chgData name="Yao Liu" userId="De98wOxqXTFY8++esdgi1+Besv75b2e3DCsfKbqDwqA=" providerId="None" clId="Web-{BFD1BC6B-4E12-4594-8F21-BD13BE733E7E}" dt="2025-03-06T20:17:14.171" v="125" actId="1076"/>
          <ac:spMkLst>
            <pc:docMk/>
            <pc:sldMk cId="810637578" sldId="263"/>
            <ac:spMk id="60" creationId="{61CC4148-BB21-3F7A-C597-9DC07E32875D}"/>
          </ac:spMkLst>
        </pc:spChg>
        <pc:spChg chg="mod">
          <ac:chgData name="Yao Liu" userId="De98wOxqXTFY8++esdgi1+Besv75b2e3DCsfKbqDwqA=" providerId="None" clId="Web-{BFD1BC6B-4E12-4594-8F21-BD13BE733E7E}" dt="2025-03-06T20:17:06.655" v="123" actId="1076"/>
          <ac:spMkLst>
            <pc:docMk/>
            <pc:sldMk cId="810637578" sldId="263"/>
            <ac:spMk id="66" creationId="{40E89E01-E3E4-9733-0C89-9A0C3565116C}"/>
          </ac:spMkLst>
        </pc:spChg>
        <pc:spChg chg="mod">
          <ac:chgData name="Yao Liu" userId="De98wOxqXTFY8++esdgi1+Besv75b2e3DCsfKbqDwqA=" providerId="None" clId="Web-{BFD1BC6B-4E12-4594-8F21-BD13BE733E7E}" dt="2025-03-06T20:17:13.202" v="124" actId="1076"/>
          <ac:spMkLst>
            <pc:docMk/>
            <pc:sldMk cId="810637578" sldId="263"/>
            <ac:spMk id="69" creationId="{776AF60B-BFA5-9759-BCD1-2B2694CCF0E5}"/>
          </ac:spMkLst>
        </pc:spChg>
        <pc:spChg chg="mod">
          <ac:chgData name="Yao Liu" userId="De98wOxqXTFY8++esdgi1+Besv75b2e3DCsfKbqDwqA=" providerId="None" clId="Web-{BFD1BC6B-4E12-4594-8F21-BD13BE733E7E}" dt="2025-03-06T20:18:24.047" v="187" actId="1076"/>
          <ac:spMkLst>
            <pc:docMk/>
            <pc:sldMk cId="810637578" sldId="263"/>
            <ac:spMk id="73" creationId="{3F8DD11A-504B-5C66-CB28-E18A86297C80}"/>
          </ac:spMkLst>
        </pc:spChg>
        <pc:spChg chg="mod">
          <ac:chgData name="Yao Liu" userId="De98wOxqXTFY8++esdgi1+Besv75b2e3DCsfKbqDwqA=" providerId="None" clId="Web-{BFD1BC6B-4E12-4594-8F21-BD13BE733E7E}" dt="2025-03-06T20:18:24.235" v="188" actId="1076"/>
          <ac:spMkLst>
            <pc:docMk/>
            <pc:sldMk cId="810637578" sldId="263"/>
            <ac:spMk id="74" creationId="{B3C92025-B1C2-DE05-55FF-4193F0FAA7E6}"/>
          </ac:spMkLst>
        </pc:spChg>
        <pc:spChg chg="add mod">
          <ac:chgData name="Yao Liu" userId="De98wOxqXTFY8++esdgi1+Besv75b2e3DCsfKbqDwqA=" providerId="None" clId="Web-{BFD1BC6B-4E12-4594-8F21-BD13BE733E7E}" dt="2025-03-06T20:16:48.092" v="117" actId="1076"/>
          <ac:spMkLst>
            <pc:docMk/>
            <pc:sldMk cId="810637578" sldId="263"/>
            <ac:spMk id="76" creationId="{48CD5E2D-C4B8-BA81-84C4-DA4C91DBAAF9}"/>
          </ac:spMkLst>
        </pc:spChg>
        <pc:spChg chg="mod">
          <ac:chgData name="Yao Liu" userId="De98wOxqXTFY8++esdgi1+Besv75b2e3DCsfKbqDwqA=" providerId="None" clId="Web-{BFD1BC6B-4E12-4594-8F21-BD13BE733E7E}" dt="2025-03-06T20:18:28.969" v="212" actId="1076"/>
          <ac:spMkLst>
            <pc:docMk/>
            <pc:sldMk cId="810637578" sldId="263"/>
            <ac:spMk id="79" creationId="{C2F0ECF5-FB8F-5F42-9F59-A78A6D3945A6}"/>
          </ac:spMkLst>
        </pc:spChg>
        <pc:spChg chg="mod">
          <ac:chgData name="Yao Liu" userId="De98wOxqXTFY8++esdgi1+Besv75b2e3DCsfKbqDwqA=" providerId="None" clId="Web-{BFD1BC6B-4E12-4594-8F21-BD13BE733E7E}" dt="2025-03-06T20:17:05.577" v="122" actId="1076"/>
          <ac:spMkLst>
            <pc:docMk/>
            <pc:sldMk cId="810637578" sldId="263"/>
            <ac:spMk id="80" creationId="{3848FF21-25C9-A6EE-D357-B1A2FA8D400F}"/>
          </ac:spMkLst>
        </pc:spChg>
        <pc:spChg chg="mod">
          <ac:chgData name="Yao Liu" userId="De98wOxqXTFY8++esdgi1+Besv75b2e3DCsfKbqDwqA=" providerId="None" clId="Web-{BFD1BC6B-4E12-4594-8F21-BD13BE733E7E}" dt="2025-03-06T20:11:12.365" v="30" actId="1076"/>
          <ac:spMkLst>
            <pc:docMk/>
            <pc:sldMk cId="810637578" sldId="263"/>
            <ac:spMk id="81" creationId="{736A3F39-55EC-EE46-2D7A-20EBB6F3C7C8}"/>
          </ac:spMkLst>
        </pc:spChg>
        <pc:spChg chg="mod">
          <ac:chgData name="Yao Liu" userId="De98wOxqXTFY8++esdgi1+Besv75b2e3DCsfKbqDwqA=" providerId="None" clId="Web-{BFD1BC6B-4E12-4594-8F21-BD13BE733E7E}" dt="2025-03-06T20:18:29.188" v="213" actId="1076"/>
          <ac:spMkLst>
            <pc:docMk/>
            <pc:sldMk cId="810637578" sldId="263"/>
            <ac:spMk id="82" creationId="{7AED0D8C-11EB-0BD7-B0E0-03617FA8F4DE}"/>
          </ac:spMkLst>
        </pc:spChg>
        <pc:spChg chg="mod">
          <ac:chgData name="Yao Liu" userId="De98wOxqXTFY8++esdgi1+Besv75b2e3DCsfKbqDwqA=" providerId="None" clId="Web-{BFD1BC6B-4E12-4594-8F21-BD13BE733E7E}" dt="2025-03-06T20:18:29.360" v="214" actId="1076"/>
          <ac:spMkLst>
            <pc:docMk/>
            <pc:sldMk cId="810637578" sldId="263"/>
            <ac:spMk id="83" creationId="{291E2FCA-7C17-9003-AC5D-0120F795D69F}"/>
          </ac:spMkLst>
        </pc:spChg>
        <pc:spChg chg="mod">
          <ac:chgData name="Yao Liu" userId="De98wOxqXTFY8++esdgi1+Besv75b2e3DCsfKbqDwqA=" providerId="None" clId="Web-{BFD1BC6B-4E12-4594-8F21-BD13BE733E7E}" dt="2025-03-06T20:18:46.626" v="241" actId="20577"/>
          <ac:spMkLst>
            <pc:docMk/>
            <pc:sldMk cId="810637578" sldId="263"/>
            <ac:spMk id="87" creationId="{8CCB822F-761C-CC27-87F8-029A1489A5EA}"/>
          </ac:spMkLst>
        </pc:spChg>
        <pc:spChg chg="mod">
          <ac:chgData name="Yao Liu" userId="De98wOxqXTFY8++esdgi1+Besv75b2e3DCsfKbqDwqA=" providerId="None" clId="Web-{BFD1BC6B-4E12-4594-8F21-BD13BE733E7E}" dt="2025-03-06T20:05:24.248" v="11" actId="1076"/>
          <ac:spMkLst>
            <pc:docMk/>
            <pc:sldMk cId="810637578" sldId="263"/>
            <ac:spMk id="93" creationId="{B355F0C5-E4DB-B25E-429E-9E8232286901}"/>
          </ac:spMkLst>
        </pc:spChg>
        <pc:spChg chg="mod">
          <ac:chgData name="Yao Liu" userId="De98wOxqXTFY8++esdgi1+Besv75b2e3DCsfKbqDwqA=" providerId="None" clId="Web-{BFD1BC6B-4E12-4594-8F21-BD13BE733E7E}" dt="2025-03-06T20:18:30.735" v="221" actId="1076"/>
          <ac:spMkLst>
            <pc:docMk/>
            <pc:sldMk cId="810637578" sldId="263"/>
            <ac:spMk id="94" creationId="{B9BE0AB6-7F02-7264-3DFC-5AD230AB5F76}"/>
          </ac:spMkLst>
        </pc:spChg>
        <pc:spChg chg="mod">
          <ac:chgData name="Yao Liu" userId="De98wOxqXTFY8++esdgi1+Besv75b2e3DCsfKbqDwqA=" providerId="None" clId="Web-{BFD1BC6B-4E12-4594-8F21-BD13BE733E7E}" dt="2025-03-06T20:18:30.938" v="222" actId="1076"/>
          <ac:spMkLst>
            <pc:docMk/>
            <pc:sldMk cId="810637578" sldId="263"/>
            <ac:spMk id="95" creationId="{F61DC495-FD95-4496-2A52-6475112782E4}"/>
          </ac:spMkLst>
        </pc:spChg>
        <pc:spChg chg="mod">
          <ac:chgData name="Yao Liu" userId="De98wOxqXTFY8++esdgi1+Besv75b2e3DCsfKbqDwqA=" providerId="None" clId="Web-{BFD1BC6B-4E12-4594-8F21-BD13BE733E7E}" dt="2025-03-06T20:18:31.126" v="223" actId="1076"/>
          <ac:spMkLst>
            <pc:docMk/>
            <pc:sldMk cId="810637578" sldId="263"/>
            <ac:spMk id="97" creationId="{9E55A492-F3A5-C73F-234E-3EF9E05E5138}"/>
          </ac:spMkLst>
        </pc:spChg>
        <pc:spChg chg="mod">
          <ac:chgData name="Yao Liu" userId="De98wOxqXTFY8++esdgi1+Besv75b2e3DCsfKbqDwqA=" providerId="None" clId="Web-{BFD1BC6B-4E12-4594-8F21-BD13BE733E7E}" dt="2025-03-06T20:18:28.766" v="211" actId="1076"/>
          <ac:spMkLst>
            <pc:docMk/>
            <pc:sldMk cId="810637578" sldId="263"/>
            <ac:spMk id="100" creationId="{62081406-995D-5EA6-5F35-85B29C5A8BBB}"/>
          </ac:spMkLst>
        </pc:spChg>
        <pc:spChg chg="mod">
          <ac:chgData name="Yao Liu" userId="De98wOxqXTFY8++esdgi1+Besv75b2e3DCsfKbqDwqA=" providerId="None" clId="Web-{BFD1BC6B-4E12-4594-8F21-BD13BE733E7E}" dt="2025-03-06T20:18:31.719" v="226" actId="1076"/>
          <ac:spMkLst>
            <pc:docMk/>
            <pc:sldMk cId="810637578" sldId="263"/>
            <ac:spMk id="101" creationId="{87CBA8BC-A722-12D2-D73B-A76A5DC56B8C}"/>
          </ac:spMkLst>
        </pc:spChg>
        <pc:spChg chg="mod">
          <ac:chgData name="Yao Liu" userId="De98wOxqXTFY8++esdgi1+Besv75b2e3DCsfKbqDwqA=" providerId="None" clId="Web-{BFD1BC6B-4E12-4594-8F21-BD13BE733E7E}" dt="2025-03-06T20:18:31.923" v="227" actId="1076"/>
          <ac:spMkLst>
            <pc:docMk/>
            <pc:sldMk cId="810637578" sldId="263"/>
            <ac:spMk id="102" creationId="{6747F563-CC30-1FD6-35F9-1FB24DF40920}"/>
          </ac:spMkLst>
        </pc:spChg>
        <pc:spChg chg="add mod">
          <ac:chgData name="Yao Liu" userId="De98wOxqXTFY8++esdgi1+Besv75b2e3DCsfKbqDwqA=" providerId="None" clId="Web-{BFD1BC6B-4E12-4594-8F21-BD13BE733E7E}" dt="2025-03-06T20:18:40.907" v="240" actId="1076"/>
          <ac:spMkLst>
            <pc:docMk/>
            <pc:sldMk cId="810637578" sldId="263"/>
            <ac:spMk id="103" creationId="{714B413B-18F0-E1B8-CE3F-373315363887}"/>
          </ac:spMkLst>
        </pc:spChg>
        <pc:spChg chg="del">
          <ac:chgData name="Yao Liu" userId="De98wOxqXTFY8++esdgi1+Besv75b2e3DCsfKbqDwqA=" providerId="None" clId="Web-{BFD1BC6B-4E12-4594-8F21-BD13BE733E7E}" dt="2025-03-06T20:03:45.902" v="1"/>
          <ac:spMkLst>
            <pc:docMk/>
            <pc:sldMk cId="810637578" sldId="263"/>
            <ac:spMk id="104" creationId="{AC9DA866-9957-5A69-7D89-32FD72BE1AC2}"/>
          </ac:spMkLst>
        </pc:spChg>
        <pc:spChg chg="mod">
          <ac:chgData name="Yao Liu" userId="De98wOxqXTFY8++esdgi1+Besv75b2e3DCsfKbqDwqA=" providerId="None" clId="Web-{BFD1BC6B-4E12-4594-8F21-BD13BE733E7E}" dt="2025-03-06T20:18:24.422" v="189" actId="1076"/>
          <ac:spMkLst>
            <pc:docMk/>
            <pc:sldMk cId="810637578" sldId="263"/>
            <ac:spMk id="108" creationId="{EB60DA79-98D9-455B-C0D6-1BF683D29B67}"/>
          </ac:spMkLst>
        </pc:spChg>
        <pc:spChg chg="mod">
          <ac:chgData name="Yao Liu" userId="De98wOxqXTFY8++esdgi1+Besv75b2e3DCsfKbqDwqA=" providerId="None" clId="Web-{BFD1BC6B-4E12-4594-8F21-BD13BE733E7E}" dt="2025-03-06T20:18:24.610" v="190" actId="1076"/>
          <ac:spMkLst>
            <pc:docMk/>
            <pc:sldMk cId="810637578" sldId="263"/>
            <ac:spMk id="110" creationId="{A96DFA2A-AD02-06B6-8283-C65D12DC2FE0}"/>
          </ac:spMkLst>
        </pc:spChg>
        <pc:spChg chg="mod">
          <ac:chgData name="Yao Liu" userId="De98wOxqXTFY8++esdgi1+Besv75b2e3DCsfKbqDwqA=" providerId="None" clId="Web-{BFD1BC6B-4E12-4594-8F21-BD13BE733E7E}" dt="2025-03-06T20:18:26.579" v="200" actId="1076"/>
          <ac:spMkLst>
            <pc:docMk/>
            <pc:sldMk cId="810637578" sldId="263"/>
            <ac:spMk id="111" creationId="{9D02A781-2653-3BA5-3688-790B147C0918}"/>
          </ac:spMkLst>
        </pc:spChg>
        <pc:spChg chg="mod">
          <ac:chgData name="Yao Liu" userId="De98wOxqXTFY8++esdgi1+Besv75b2e3DCsfKbqDwqA=" providerId="None" clId="Web-{BFD1BC6B-4E12-4594-8F21-BD13BE733E7E}" dt="2025-03-06T20:18:25.188" v="193" actId="1076"/>
          <ac:spMkLst>
            <pc:docMk/>
            <pc:sldMk cId="810637578" sldId="263"/>
            <ac:spMk id="115" creationId="{B9659D5E-9329-8C4D-19AA-2F3B70CA831A}"/>
          </ac:spMkLst>
        </pc:spChg>
        <pc:spChg chg="mod">
          <ac:chgData name="Yao Liu" userId="De98wOxqXTFY8++esdgi1+Besv75b2e3DCsfKbqDwqA=" providerId="None" clId="Web-{BFD1BC6B-4E12-4594-8F21-BD13BE733E7E}" dt="2025-03-06T20:18:25.376" v="194" actId="1076"/>
          <ac:spMkLst>
            <pc:docMk/>
            <pc:sldMk cId="810637578" sldId="263"/>
            <ac:spMk id="116" creationId="{A9F259AD-CA66-F76C-A61C-3BC5BA60090A}"/>
          </ac:spMkLst>
        </pc:spChg>
        <pc:spChg chg="mod">
          <ac:chgData name="Yao Liu" userId="De98wOxqXTFY8++esdgi1+Besv75b2e3DCsfKbqDwqA=" providerId="None" clId="Web-{BFD1BC6B-4E12-4594-8F21-BD13BE733E7E}" dt="2025-03-06T20:18:25.563" v="195" actId="1076"/>
          <ac:spMkLst>
            <pc:docMk/>
            <pc:sldMk cId="810637578" sldId="263"/>
            <ac:spMk id="117" creationId="{69A1A130-C723-FF80-8C52-4585B88A6FCF}"/>
          </ac:spMkLst>
        </pc:spChg>
        <pc:spChg chg="mod">
          <ac:chgData name="Yao Liu" userId="De98wOxqXTFY8++esdgi1+Besv75b2e3DCsfKbqDwqA=" providerId="None" clId="Web-{BFD1BC6B-4E12-4594-8F21-BD13BE733E7E}" dt="2025-03-06T20:18:25.751" v="196" actId="1076"/>
          <ac:spMkLst>
            <pc:docMk/>
            <pc:sldMk cId="810637578" sldId="263"/>
            <ac:spMk id="118" creationId="{3DD98C7D-5EDC-60EB-67A1-41AEE24ED37B}"/>
          </ac:spMkLst>
        </pc:spChg>
        <pc:spChg chg="mod">
          <ac:chgData name="Yao Liu" userId="De98wOxqXTFY8++esdgi1+Besv75b2e3DCsfKbqDwqA=" providerId="None" clId="Web-{BFD1BC6B-4E12-4594-8F21-BD13BE733E7E}" dt="2025-03-06T20:18:25.969" v="197" actId="1076"/>
          <ac:spMkLst>
            <pc:docMk/>
            <pc:sldMk cId="810637578" sldId="263"/>
            <ac:spMk id="120" creationId="{5D518FEE-1E32-2924-21B4-CD59FF28FE59}"/>
          </ac:spMkLst>
        </pc:spChg>
        <pc:spChg chg="mod">
          <ac:chgData name="Yao Liu" userId="De98wOxqXTFY8++esdgi1+Besv75b2e3DCsfKbqDwqA=" providerId="None" clId="Web-{BFD1BC6B-4E12-4594-8F21-BD13BE733E7E}" dt="2025-03-06T20:18:26.188" v="198" actId="1076"/>
          <ac:spMkLst>
            <pc:docMk/>
            <pc:sldMk cId="810637578" sldId="263"/>
            <ac:spMk id="121" creationId="{D9D25C7C-098D-2C8F-07C2-761BEB269C1A}"/>
          </ac:spMkLst>
        </pc:spChg>
        <pc:spChg chg="del">
          <ac:chgData name="Yao Liu" userId="De98wOxqXTFY8++esdgi1+Besv75b2e3DCsfKbqDwqA=" providerId="None" clId="Web-{BFD1BC6B-4E12-4594-8F21-BD13BE733E7E}" dt="2025-03-06T20:03:45.589" v="0"/>
          <ac:spMkLst>
            <pc:docMk/>
            <pc:sldMk cId="810637578" sldId="263"/>
            <ac:spMk id="125" creationId="{45ECA54B-A995-76D5-5FEA-5153A2577D23}"/>
          </ac:spMkLst>
        </pc:spChg>
        <pc:spChg chg="mod">
          <ac:chgData name="Yao Liu" userId="De98wOxqXTFY8++esdgi1+Besv75b2e3DCsfKbqDwqA=" providerId="None" clId="Web-{BFD1BC6B-4E12-4594-8F21-BD13BE733E7E}" dt="2025-03-06T20:18:54.892" v="243" actId="20577"/>
          <ac:spMkLst>
            <pc:docMk/>
            <pc:sldMk cId="810637578" sldId="263"/>
            <ac:spMk id="127" creationId="{FE7B4270-3224-663B-B190-7CE82AB374E6}"/>
          </ac:spMkLst>
        </pc:spChg>
        <pc:spChg chg="mod">
          <ac:chgData name="Yao Liu" userId="De98wOxqXTFY8++esdgi1+Besv75b2e3DCsfKbqDwqA=" providerId="None" clId="Web-{BFD1BC6B-4E12-4594-8F21-BD13BE733E7E}" dt="2025-03-06T20:18:27.141" v="203" actId="1076"/>
          <ac:spMkLst>
            <pc:docMk/>
            <pc:sldMk cId="810637578" sldId="263"/>
            <ac:spMk id="129" creationId="{60379B83-44AA-B82F-BAE2-D5004C843B15}"/>
          </ac:spMkLst>
        </pc:spChg>
        <pc:spChg chg="mod">
          <ac:chgData name="Yao Liu" userId="De98wOxqXTFY8++esdgi1+Besv75b2e3DCsfKbqDwqA=" providerId="None" clId="Web-{BFD1BC6B-4E12-4594-8F21-BD13BE733E7E}" dt="2025-03-06T20:18:27.344" v="204" actId="1076"/>
          <ac:spMkLst>
            <pc:docMk/>
            <pc:sldMk cId="810637578" sldId="263"/>
            <ac:spMk id="130" creationId="{6BF3D9FB-CFA2-2870-3919-9B65C3D7C247}"/>
          </ac:spMkLst>
        </pc:spChg>
        <pc:spChg chg="mod">
          <ac:chgData name="Yao Liu" userId="De98wOxqXTFY8++esdgi1+Besv75b2e3DCsfKbqDwqA=" providerId="None" clId="Web-{BFD1BC6B-4E12-4594-8F21-BD13BE733E7E}" dt="2025-03-06T20:18:27.516" v="205" actId="1076"/>
          <ac:spMkLst>
            <pc:docMk/>
            <pc:sldMk cId="810637578" sldId="263"/>
            <ac:spMk id="131" creationId="{819F5578-C28C-FF3C-FBF1-7515909356F6}"/>
          </ac:spMkLst>
        </pc:spChg>
        <pc:spChg chg="mod">
          <ac:chgData name="Yao Liu" userId="De98wOxqXTFY8++esdgi1+Besv75b2e3DCsfKbqDwqA=" providerId="None" clId="Web-{BFD1BC6B-4E12-4594-8F21-BD13BE733E7E}" dt="2025-03-06T20:18:27.704" v="206" actId="1076"/>
          <ac:spMkLst>
            <pc:docMk/>
            <pc:sldMk cId="810637578" sldId="263"/>
            <ac:spMk id="132" creationId="{75DCE009-7AEF-AAAA-D49D-6B36D9754678}"/>
          </ac:spMkLst>
        </pc:spChg>
        <pc:spChg chg="mod">
          <ac:chgData name="Yao Liu" userId="De98wOxqXTFY8++esdgi1+Besv75b2e3DCsfKbqDwqA=" providerId="None" clId="Web-{BFD1BC6B-4E12-4594-8F21-BD13BE733E7E}" dt="2025-03-06T20:18:27.891" v="207" actId="1076"/>
          <ac:spMkLst>
            <pc:docMk/>
            <pc:sldMk cId="810637578" sldId="263"/>
            <ac:spMk id="133" creationId="{C4A6260A-6D48-7FD6-FB55-32BA221F86C1}"/>
          </ac:spMkLst>
        </pc:spChg>
        <pc:spChg chg="mod">
          <ac:chgData name="Yao Liu" userId="De98wOxqXTFY8++esdgi1+Besv75b2e3DCsfKbqDwqA=" providerId="None" clId="Web-{BFD1BC6B-4E12-4594-8F21-BD13BE733E7E}" dt="2025-03-06T20:18:28.079" v="208" actId="1076"/>
          <ac:spMkLst>
            <pc:docMk/>
            <pc:sldMk cId="810637578" sldId="263"/>
            <ac:spMk id="134" creationId="{16139CE1-6FBC-0EB4-DE69-B920371AB29C}"/>
          </ac:spMkLst>
        </pc:spChg>
        <pc:spChg chg="mod">
          <ac:chgData name="Yao Liu" userId="De98wOxqXTFY8++esdgi1+Besv75b2e3DCsfKbqDwqA=" providerId="None" clId="Web-{BFD1BC6B-4E12-4594-8F21-BD13BE733E7E}" dt="2025-03-06T20:18:33.094" v="233" actId="1076"/>
          <ac:spMkLst>
            <pc:docMk/>
            <pc:sldMk cId="810637578" sldId="263"/>
            <ac:spMk id="163" creationId="{89E3A2E5-64DA-8C84-6BF6-57AA66EA5FFD}"/>
          </ac:spMkLst>
        </pc:spChg>
        <pc:spChg chg="mod">
          <ac:chgData name="Yao Liu" userId="De98wOxqXTFY8++esdgi1+Besv75b2e3DCsfKbqDwqA=" providerId="None" clId="Web-{BFD1BC6B-4E12-4594-8F21-BD13BE733E7E}" dt="2025-03-06T20:18:33.298" v="234" actId="1076"/>
          <ac:spMkLst>
            <pc:docMk/>
            <pc:sldMk cId="810637578" sldId="263"/>
            <ac:spMk id="164" creationId="{D5027268-7BA0-2914-80E5-EFA12C070FAA}"/>
          </ac:spMkLst>
        </pc:spChg>
        <pc:spChg chg="mod">
          <ac:chgData name="Yao Liu" userId="De98wOxqXTFY8++esdgi1+Besv75b2e3DCsfKbqDwqA=" providerId="None" clId="Web-{BFD1BC6B-4E12-4594-8F21-BD13BE733E7E}" dt="2025-03-06T20:18:33.501" v="235" actId="1076"/>
          <ac:spMkLst>
            <pc:docMk/>
            <pc:sldMk cId="810637578" sldId="263"/>
            <ac:spMk id="165" creationId="{31E6C983-B6FD-0DE9-A969-DE3BED07D95B}"/>
          </ac:spMkLst>
        </pc:spChg>
        <pc:spChg chg="mod">
          <ac:chgData name="Yao Liu" userId="De98wOxqXTFY8++esdgi1+Besv75b2e3DCsfKbqDwqA=" providerId="None" clId="Web-{BFD1BC6B-4E12-4594-8F21-BD13BE733E7E}" dt="2025-03-06T20:18:33.704" v="236" actId="1076"/>
          <ac:spMkLst>
            <pc:docMk/>
            <pc:sldMk cId="810637578" sldId="263"/>
            <ac:spMk id="167" creationId="{23FF0565-68F2-DB31-A2FA-C5157DD6C805}"/>
          </ac:spMkLst>
        </pc:spChg>
        <pc:grpChg chg="mod">
          <ac:chgData name="Yao Liu" userId="De98wOxqXTFY8++esdgi1+Besv75b2e3DCsfKbqDwqA=" providerId="None" clId="Web-{BFD1BC6B-4E12-4594-8F21-BD13BE733E7E}" dt="2025-03-06T20:05:09.169" v="8" actId="1076"/>
          <ac:grpSpMkLst>
            <pc:docMk/>
            <pc:sldMk cId="810637578" sldId="263"/>
            <ac:grpSpMk id="92" creationId="{8E2C802D-9017-2B1C-065A-FBF42B648649}"/>
          </ac:grpSpMkLst>
        </pc:grpChg>
        <pc:graphicFrameChg chg="mod">
          <ac:chgData name="Yao Liu" userId="De98wOxqXTFY8++esdgi1+Besv75b2e3DCsfKbqDwqA=" providerId="None" clId="Web-{BFD1BC6B-4E12-4594-8F21-BD13BE733E7E}" dt="2025-03-06T20:18:28.532" v="210" actId="1076"/>
          <ac:graphicFrameMkLst>
            <pc:docMk/>
            <pc:sldMk cId="810637578" sldId="263"/>
            <ac:graphicFrameMk id="24" creationId="{7274279B-F42A-9AD0-943B-BBB4F1D0EF0B}"/>
          </ac:graphicFrameMkLst>
        </pc:graphicFrameChg>
        <pc:graphicFrameChg chg="mod">
          <ac:chgData name="Yao Liu" userId="De98wOxqXTFY8++esdgi1+Besv75b2e3DCsfKbqDwqA=" providerId="None" clId="Web-{BFD1BC6B-4E12-4594-8F21-BD13BE733E7E}" dt="2025-03-06T20:18:34.126" v="238" actId="1076"/>
          <ac:graphicFrameMkLst>
            <pc:docMk/>
            <pc:sldMk cId="810637578" sldId="263"/>
            <ac:graphicFrameMk id="169" creationId="{B168E9E6-D886-54D2-1CE9-C59A966370A2}"/>
          </ac:graphicFrameMkLst>
        </pc:graphicFrameChg>
        <pc:picChg chg="mod">
          <ac:chgData name="Yao Liu" userId="De98wOxqXTFY8++esdgi1+Besv75b2e3DCsfKbqDwqA=" providerId="None" clId="Web-{BFD1BC6B-4E12-4594-8F21-BD13BE733E7E}" dt="2025-03-06T20:11:07.896" v="29" actId="1076"/>
          <ac:picMkLst>
            <pc:docMk/>
            <pc:sldMk cId="810637578" sldId="263"/>
            <ac:picMk id="14" creationId="{1548A0EE-44D8-5FCD-226A-27421ECD7486}"/>
          </ac:picMkLst>
        </pc:picChg>
        <pc:picChg chg="mod">
          <ac:chgData name="Yao Liu" userId="De98wOxqXTFY8++esdgi1+Besv75b2e3DCsfKbqDwqA=" providerId="None" clId="Web-{BFD1BC6B-4E12-4594-8F21-BD13BE733E7E}" dt="2025-03-06T20:05:38.436" v="13" actId="1076"/>
          <ac:picMkLst>
            <pc:docMk/>
            <pc:sldMk cId="810637578" sldId="263"/>
            <ac:picMk id="96" creationId="{19C12D90-1F4A-FA3C-D256-DCEA2D30E04C}"/>
          </ac:picMkLst>
        </pc:picChg>
        <pc:cxnChg chg="mod">
          <ac:chgData name="Yao Liu" userId="De98wOxqXTFY8++esdgi1+Besv75b2e3DCsfKbqDwqA=" providerId="None" clId="Web-{BFD1BC6B-4E12-4594-8F21-BD13BE733E7E}" dt="2025-03-06T20:18:32.891" v="232" actId="1076"/>
          <ac:cxnSpMkLst>
            <pc:docMk/>
            <pc:sldMk cId="810637578" sldId="263"/>
            <ac:cxnSpMk id="26" creationId="{9E37D577-5CD7-4A5A-323B-6B5FBEDA41A6}"/>
          </ac:cxnSpMkLst>
        </pc:cxnChg>
        <pc:cxnChg chg="mod">
          <ac:chgData name="Yao Liu" userId="De98wOxqXTFY8++esdgi1+Besv75b2e3DCsfKbqDwqA=" providerId="None" clId="Web-{BFD1BC6B-4E12-4594-8F21-BD13BE733E7E}" dt="2025-03-06T20:18:32.704" v="231" actId="1076"/>
          <ac:cxnSpMkLst>
            <pc:docMk/>
            <pc:sldMk cId="810637578" sldId="263"/>
            <ac:cxnSpMk id="39" creationId="{19A3E57F-DBD2-D119-F06F-2A80BE09D5AA}"/>
          </ac:cxnSpMkLst>
        </pc:cxnChg>
        <pc:cxnChg chg="mod">
          <ac:chgData name="Yao Liu" userId="De98wOxqXTFY8++esdgi1+Besv75b2e3DCsfKbqDwqA=" providerId="None" clId="Web-{BFD1BC6B-4E12-4594-8F21-BD13BE733E7E}" dt="2025-03-06T20:16:32.451" v="63" actId="1076"/>
          <ac:cxnSpMkLst>
            <pc:docMk/>
            <pc:sldMk cId="810637578" sldId="263"/>
            <ac:cxnSpMk id="56" creationId="{500092EC-EE5D-F675-EE6D-32E05CB0BBC9}"/>
          </ac:cxnSpMkLst>
        </pc:cxnChg>
        <pc:cxnChg chg="mod">
          <ac:chgData name="Yao Liu" userId="De98wOxqXTFY8++esdgi1+Besv75b2e3DCsfKbqDwqA=" providerId="None" clId="Web-{BFD1BC6B-4E12-4594-8F21-BD13BE733E7E}" dt="2025-03-06T20:18:29.548" v="215" actId="1076"/>
          <ac:cxnSpMkLst>
            <pc:docMk/>
            <pc:sldMk cId="810637578" sldId="263"/>
            <ac:cxnSpMk id="84" creationId="{E57120C4-47E8-DE15-CDEB-3C9498046445}"/>
          </ac:cxnSpMkLst>
        </pc:cxnChg>
        <pc:cxnChg chg="mod">
          <ac:chgData name="Yao Liu" userId="De98wOxqXTFY8++esdgi1+Besv75b2e3DCsfKbqDwqA=" providerId="None" clId="Web-{BFD1BC6B-4E12-4594-8F21-BD13BE733E7E}" dt="2025-03-06T20:18:29.751" v="216" actId="1076"/>
          <ac:cxnSpMkLst>
            <pc:docMk/>
            <pc:sldMk cId="810637578" sldId="263"/>
            <ac:cxnSpMk id="86" creationId="{B4283CBC-6D4F-0230-34BF-98AA25594EF6}"/>
          </ac:cxnSpMkLst>
        </pc:cxnChg>
        <pc:cxnChg chg="mod">
          <ac:chgData name="Yao Liu" userId="De98wOxqXTFY8++esdgi1+Besv75b2e3DCsfKbqDwqA=" providerId="None" clId="Web-{BFD1BC6B-4E12-4594-8F21-BD13BE733E7E}" dt="2025-03-06T20:18:29.938" v="217" actId="1076"/>
          <ac:cxnSpMkLst>
            <pc:docMk/>
            <pc:sldMk cId="810637578" sldId="263"/>
            <ac:cxnSpMk id="88" creationId="{541FA767-FE93-EA64-8867-B2C5F8AD6569}"/>
          </ac:cxnSpMkLst>
        </pc:cxnChg>
        <pc:cxnChg chg="mod">
          <ac:chgData name="Yao Liu" userId="De98wOxqXTFY8++esdgi1+Besv75b2e3DCsfKbqDwqA=" providerId="None" clId="Web-{BFD1BC6B-4E12-4594-8F21-BD13BE733E7E}" dt="2025-03-06T20:18:30.126" v="218" actId="1076"/>
          <ac:cxnSpMkLst>
            <pc:docMk/>
            <pc:sldMk cId="810637578" sldId="263"/>
            <ac:cxnSpMk id="89" creationId="{1B8F2005-15ED-EF1F-E731-59B591DA931F}"/>
          </ac:cxnSpMkLst>
        </pc:cxnChg>
        <pc:cxnChg chg="mod">
          <ac:chgData name="Yao Liu" userId="De98wOxqXTFY8++esdgi1+Besv75b2e3DCsfKbqDwqA=" providerId="None" clId="Web-{BFD1BC6B-4E12-4594-8F21-BD13BE733E7E}" dt="2025-03-06T20:18:30.329" v="219" actId="1076"/>
          <ac:cxnSpMkLst>
            <pc:docMk/>
            <pc:sldMk cId="810637578" sldId="263"/>
            <ac:cxnSpMk id="90" creationId="{0AA764BC-04FD-0360-B559-95F6FF979942}"/>
          </ac:cxnSpMkLst>
        </pc:cxnChg>
        <pc:cxnChg chg="mod">
          <ac:chgData name="Yao Liu" userId="De98wOxqXTFY8++esdgi1+Besv75b2e3DCsfKbqDwqA=" providerId="None" clId="Web-{BFD1BC6B-4E12-4594-8F21-BD13BE733E7E}" dt="2025-03-06T20:18:30.532" v="220" actId="1076"/>
          <ac:cxnSpMkLst>
            <pc:docMk/>
            <pc:sldMk cId="810637578" sldId="263"/>
            <ac:cxnSpMk id="91" creationId="{587E658E-AD18-AA8C-07F0-9EEEF79B4E0C}"/>
          </ac:cxnSpMkLst>
        </pc:cxnChg>
        <pc:cxnChg chg="mod">
          <ac:chgData name="Yao Liu" userId="De98wOxqXTFY8++esdgi1+Besv75b2e3DCsfKbqDwqA=" providerId="None" clId="Web-{BFD1BC6B-4E12-4594-8F21-BD13BE733E7E}" dt="2025-03-06T20:18:31.313" v="224" actId="1076"/>
          <ac:cxnSpMkLst>
            <pc:docMk/>
            <pc:sldMk cId="810637578" sldId="263"/>
            <ac:cxnSpMk id="98" creationId="{84687139-8338-8890-0A7C-BF281FAECBCF}"/>
          </ac:cxnSpMkLst>
        </pc:cxnChg>
        <pc:cxnChg chg="mod">
          <ac:chgData name="Yao Liu" userId="De98wOxqXTFY8++esdgi1+Besv75b2e3DCsfKbqDwqA=" providerId="None" clId="Web-{BFD1BC6B-4E12-4594-8F21-BD13BE733E7E}" dt="2025-03-06T20:18:31.516" v="225" actId="1076"/>
          <ac:cxnSpMkLst>
            <pc:docMk/>
            <pc:sldMk cId="810637578" sldId="263"/>
            <ac:cxnSpMk id="99" creationId="{9D33DE9D-6226-383D-D2D7-167A3098C3F1}"/>
          </ac:cxnSpMkLst>
        </pc:cxnChg>
        <pc:cxnChg chg="mod">
          <ac:chgData name="Yao Liu" userId="De98wOxqXTFY8++esdgi1+Besv75b2e3DCsfKbqDwqA=" providerId="None" clId="Web-{BFD1BC6B-4E12-4594-8F21-BD13BE733E7E}" dt="2025-03-06T20:18:24.797" v="191" actId="1076"/>
          <ac:cxnSpMkLst>
            <pc:docMk/>
            <pc:sldMk cId="810637578" sldId="263"/>
            <ac:cxnSpMk id="112" creationId="{F04EE867-59A4-2182-DEA3-36A1EA703473}"/>
          </ac:cxnSpMkLst>
        </pc:cxnChg>
        <pc:cxnChg chg="mod">
          <ac:chgData name="Yao Liu" userId="De98wOxqXTFY8++esdgi1+Besv75b2e3DCsfKbqDwqA=" providerId="None" clId="Web-{BFD1BC6B-4E12-4594-8F21-BD13BE733E7E}" dt="2025-03-06T20:18:24.985" v="192" actId="1076"/>
          <ac:cxnSpMkLst>
            <pc:docMk/>
            <pc:sldMk cId="810637578" sldId="263"/>
            <ac:cxnSpMk id="114" creationId="{DD5F55B4-B28C-7265-C7EA-362D5B1ECF3C}"/>
          </ac:cxnSpMkLst>
        </pc:cxnChg>
        <pc:cxnChg chg="mod">
          <ac:chgData name="Yao Liu" userId="De98wOxqXTFY8++esdgi1+Besv75b2e3DCsfKbqDwqA=" providerId="None" clId="Web-{BFD1BC6B-4E12-4594-8F21-BD13BE733E7E}" dt="2025-03-06T20:18:26.376" v="199" actId="1076"/>
          <ac:cxnSpMkLst>
            <pc:docMk/>
            <pc:sldMk cId="810637578" sldId="263"/>
            <ac:cxnSpMk id="122" creationId="{092A37AD-D2B2-A27C-0407-1E96893A3521}"/>
          </ac:cxnSpMkLst>
        </pc:cxnChg>
        <pc:cxnChg chg="mod">
          <ac:chgData name="Yao Liu" userId="De98wOxqXTFY8++esdgi1+Besv75b2e3DCsfKbqDwqA=" providerId="None" clId="Web-{BFD1BC6B-4E12-4594-8F21-BD13BE733E7E}" dt="2025-03-06T20:18:26.766" v="201" actId="1076"/>
          <ac:cxnSpMkLst>
            <pc:docMk/>
            <pc:sldMk cId="810637578" sldId="263"/>
            <ac:cxnSpMk id="123" creationId="{36FC00C8-59F4-ACB4-763C-5DAF0D65617A}"/>
          </ac:cxnSpMkLst>
        </pc:cxnChg>
        <pc:cxnChg chg="mod">
          <ac:chgData name="Yao Liu" userId="De98wOxqXTFY8++esdgi1+Besv75b2e3DCsfKbqDwqA=" providerId="None" clId="Web-{BFD1BC6B-4E12-4594-8F21-BD13BE733E7E}" dt="2025-03-06T20:18:26.954" v="202" actId="1076"/>
          <ac:cxnSpMkLst>
            <pc:docMk/>
            <pc:sldMk cId="810637578" sldId="263"/>
            <ac:cxnSpMk id="124" creationId="{D5B52A4D-3C69-3AC1-3890-F25949BA3115}"/>
          </ac:cxnSpMkLst>
        </pc:cxnChg>
        <pc:cxnChg chg="mod">
          <ac:chgData name="Yao Liu" userId="De98wOxqXTFY8++esdgi1+Besv75b2e3DCsfKbqDwqA=" providerId="None" clId="Web-{BFD1BC6B-4E12-4594-8F21-BD13BE733E7E}" dt="2025-03-06T20:18:33.923" v="237" actId="1076"/>
          <ac:cxnSpMkLst>
            <pc:docMk/>
            <pc:sldMk cId="810637578" sldId="263"/>
            <ac:cxnSpMk id="168" creationId="{65D5AF2F-4977-F93B-53E2-1AAA76B48AA7}"/>
          </ac:cxnSpMkLst>
        </pc:cxnChg>
        <pc:extLst>
          <p:ext xmlns:p="http://schemas.openxmlformats.org/presentationml/2006/main" uri="{D6D511B9-2390-475A-947B-AFAB55BFBCF1}">
            <pc226:cmChg xmlns:pc226="http://schemas.microsoft.com/office/powerpoint/2022/06/main/command" chg="mod">
              <pc226:chgData name="Yao Liu" userId="De98wOxqXTFY8++esdgi1+Besv75b2e3DCsfKbqDwqA=" providerId="None" clId="Web-{BFD1BC6B-4E12-4594-8F21-BD13BE733E7E}" dt="2025-03-06T20:16:07.904" v="59" actId="20577"/>
              <pc2:cmMkLst xmlns:pc2="http://schemas.microsoft.com/office/powerpoint/2019/9/main/command">
                <pc:docMk/>
                <pc:sldMk cId="810637578" sldId="263"/>
                <pc2:cmMk id="{E0558DB1-E828-415A-BF3F-74D97FC8535A}"/>
              </pc2:cmMkLst>
            </pc226:cmChg>
          </p:ext>
        </pc:extLst>
      </pc:sldChg>
    </pc:docChg>
  </pc:docChgLst>
  <pc:docChgLst>
    <pc:chgData name="Yijun Wang" userId="Of/0Pj+qBr5fypY8jeq4N4QA/9LywGn1V9GniuUBQzk=" providerId="None" clId="Web-{24EB2D9E-C759-4845-9537-66EAEF81FB16}"/>
    <pc:docChg chg="addSld delSld modSld">
      <pc:chgData name="Yijun Wang" userId="Of/0Pj+qBr5fypY8jeq4N4QA/9LywGn1V9GniuUBQzk=" providerId="None" clId="Web-{24EB2D9E-C759-4845-9537-66EAEF81FB16}" dt="2025-03-06T19:41:53.456" v="1292"/>
      <pc:docMkLst>
        <pc:docMk/>
      </pc:docMkLst>
      <pc:sldChg chg="addSp delSp modSp">
        <pc:chgData name="Yijun Wang" userId="Of/0Pj+qBr5fypY8jeq4N4QA/9LywGn1V9GniuUBQzk=" providerId="None" clId="Web-{24EB2D9E-C759-4845-9537-66EAEF81FB16}" dt="2025-03-06T19:41:53.456" v="1292"/>
        <pc:sldMkLst>
          <pc:docMk/>
          <pc:sldMk cId="810637578" sldId="263"/>
        </pc:sldMkLst>
        <pc:spChg chg="mod">
          <ac:chgData name="Yijun Wang" userId="Of/0Pj+qBr5fypY8jeq4N4QA/9LywGn1V9GniuUBQzk=" providerId="None" clId="Web-{24EB2D9E-C759-4845-9537-66EAEF81FB16}" dt="2025-03-06T19:39:36.626" v="1242" actId="14100"/>
          <ac:spMkLst>
            <pc:docMk/>
            <pc:sldMk cId="810637578" sldId="263"/>
            <ac:spMk id="2" creationId="{32CC5A80-0450-772D-9231-C5665C60D606}"/>
          </ac:spMkLst>
        </pc:spChg>
        <pc:spChg chg="add mod">
          <ac:chgData name="Yijun Wang" userId="Of/0Pj+qBr5fypY8jeq4N4QA/9LywGn1V9GniuUBQzk=" providerId="None" clId="Web-{24EB2D9E-C759-4845-9537-66EAEF81FB16}" dt="2025-03-06T19:40:27.799" v="1264" actId="1076"/>
          <ac:spMkLst>
            <pc:docMk/>
            <pc:sldMk cId="810637578" sldId="263"/>
            <ac:spMk id="8" creationId="{7C64A13A-A6CE-0BCC-E048-7856D21CA329}"/>
          </ac:spMkLst>
        </pc:spChg>
        <pc:spChg chg="add mod">
          <ac:chgData name="Yijun Wang" userId="Of/0Pj+qBr5fypY8jeq4N4QA/9LywGn1V9GniuUBQzk=" providerId="None" clId="Web-{24EB2D9E-C759-4845-9537-66EAEF81FB16}" dt="2025-03-06T19:40:30.205" v="1278" actId="1076"/>
          <ac:spMkLst>
            <pc:docMk/>
            <pc:sldMk cId="810637578" sldId="263"/>
            <ac:spMk id="23" creationId="{E665D016-5F0B-4BBA-2B17-E7F1A7822206}"/>
          </ac:spMkLst>
        </pc:spChg>
        <pc:spChg chg="add del mod">
          <ac:chgData name="Yijun Wang" userId="Of/0Pj+qBr5fypY8jeq4N4QA/9LywGn1V9GniuUBQzk=" providerId="None" clId="Web-{24EB2D9E-C759-4845-9537-66EAEF81FB16}" dt="2025-03-06T18:59:25.463" v="458"/>
          <ac:spMkLst>
            <pc:docMk/>
            <pc:sldMk cId="810637578" sldId="263"/>
            <ac:spMk id="26" creationId="{4A6E57C1-E67D-D515-51D7-F70171964EC9}"/>
          </ac:spMkLst>
        </pc:spChg>
        <pc:spChg chg="add del mod">
          <ac:chgData name="Yijun Wang" userId="Of/0Pj+qBr5fypY8jeq4N4QA/9LywGn1V9GniuUBQzk=" providerId="None" clId="Web-{24EB2D9E-C759-4845-9537-66EAEF81FB16}" dt="2025-03-06T18:49:35.723" v="357"/>
          <ac:spMkLst>
            <pc:docMk/>
            <pc:sldMk cId="810637578" sldId="263"/>
            <ac:spMk id="26" creationId="{6860C5E2-1CA6-A610-9C4B-241CD010D9A5}"/>
          </ac:spMkLst>
        </pc:spChg>
        <pc:spChg chg="add del mod">
          <ac:chgData name="Yijun Wang" userId="Of/0Pj+qBr5fypY8jeq4N4QA/9LywGn1V9GniuUBQzk=" providerId="None" clId="Web-{24EB2D9E-C759-4845-9537-66EAEF81FB16}" dt="2025-03-06T19:02:41.199" v="466"/>
          <ac:spMkLst>
            <pc:docMk/>
            <pc:sldMk cId="810637578" sldId="263"/>
            <ac:spMk id="27" creationId="{5A50C7A1-6A73-6C75-EC4D-0F95133A24FB}"/>
          </ac:spMkLst>
        </pc:spChg>
        <pc:spChg chg="add mod">
          <ac:chgData name="Yijun Wang" userId="Of/0Pj+qBr5fypY8jeq4N4QA/9LywGn1V9GniuUBQzk=" providerId="None" clId="Web-{24EB2D9E-C759-4845-9537-66EAEF81FB16}" dt="2025-03-06T19:40:30.392" v="1279" actId="1076"/>
          <ac:spMkLst>
            <pc:docMk/>
            <pc:sldMk cId="810637578" sldId="263"/>
            <ac:spMk id="27" creationId="{B5DBB932-36CC-D676-C85C-33A719023472}"/>
          </ac:spMkLst>
        </pc:spChg>
        <pc:spChg chg="add mod">
          <ac:chgData name="Yijun Wang" userId="Of/0Pj+qBr5fypY8jeq4N4QA/9LywGn1V9GniuUBQzk=" providerId="None" clId="Web-{24EB2D9E-C759-4845-9537-66EAEF81FB16}" dt="2025-03-06T19:40:30.549" v="1280" actId="1076"/>
          <ac:spMkLst>
            <pc:docMk/>
            <pc:sldMk cId="810637578" sldId="263"/>
            <ac:spMk id="33" creationId="{40FF7FE5-73F7-3C69-89FF-35F7276803F3}"/>
          </ac:spMkLst>
        </pc:spChg>
        <pc:spChg chg="add mod">
          <ac:chgData name="Yijun Wang" userId="Of/0Pj+qBr5fypY8jeq4N4QA/9LywGn1V9GniuUBQzk=" providerId="None" clId="Web-{24EB2D9E-C759-4845-9537-66EAEF81FB16}" dt="2025-03-06T19:41:49.440" v="1291"/>
          <ac:spMkLst>
            <pc:docMk/>
            <pc:sldMk cId="810637578" sldId="263"/>
            <ac:spMk id="35" creationId="{A945577B-A3D3-067C-857A-3B0452233081}"/>
          </ac:spMkLst>
        </pc:spChg>
        <pc:spChg chg="mod">
          <ac:chgData name="Yijun Wang" userId="Of/0Pj+qBr5fypY8jeq4N4QA/9LywGn1V9GniuUBQzk=" providerId="None" clId="Web-{24EB2D9E-C759-4845-9537-66EAEF81FB16}" dt="2025-03-06T18:54:32.648" v="405" actId="14100"/>
          <ac:spMkLst>
            <pc:docMk/>
            <pc:sldMk cId="810637578" sldId="263"/>
            <ac:spMk id="36" creationId="{61F725B3-72D9-2F4A-317E-CF50B6717014}"/>
          </ac:spMkLst>
        </pc:spChg>
        <pc:spChg chg="add mod">
          <ac:chgData name="Yijun Wang" userId="Of/0Pj+qBr5fypY8jeq4N4QA/9LywGn1V9GniuUBQzk=" providerId="None" clId="Web-{24EB2D9E-C759-4845-9537-66EAEF81FB16}" dt="2025-03-06T19:41:53.456" v="1292"/>
          <ac:spMkLst>
            <pc:docMk/>
            <pc:sldMk cId="810637578" sldId="263"/>
            <ac:spMk id="50" creationId="{99FB33BE-8E4B-8E63-3450-37BF1C6D683B}"/>
          </ac:spMkLst>
        </pc:spChg>
        <pc:spChg chg="mod">
          <ac:chgData name="Yijun Wang" userId="Of/0Pj+qBr5fypY8jeq4N4QA/9LywGn1V9GniuUBQzk=" providerId="None" clId="Web-{24EB2D9E-C759-4845-9537-66EAEF81FB16}" dt="2025-03-06T18:34:37.497" v="148" actId="1076"/>
          <ac:spMkLst>
            <pc:docMk/>
            <pc:sldMk cId="810637578" sldId="263"/>
            <ac:spMk id="68" creationId="{7D5FEDDA-C278-F1AA-CD8E-5B00104C1BCA}"/>
          </ac:spMkLst>
        </pc:spChg>
        <pc:spChg chg="add del mod">
          <ac:chgData name="Yijun Wang" userId="Of/0Pj+qBr5fypY8jeq4N4QA/9LywGn1V9GniuUBQzk=" providerId="None" clId="Web-{24EB2D9E-C759-4845-9537-66EAEF81FB16}" dt="2025-03-06T18:49:35.723" v="356"/>
          <ac:spMkLst>
            <pc:docMk/>
            <pc:sldMk cId="810637578" sldId="263"/>
            <ac:spMk id="70" creationId="{D9318EE3-2E3C-D430-42AD-328FBE0456D9}"/>
          </ac:spMkLst>
        </pc:spChg>
        <pc:spChg chg="mod">
          <ac:chgData name="Yijun Wang" userId="Of/0Pj+qBr5fypY8jeq4N4QA/9LywGn1V9GniuUBQzk=" providerId="None" clId="Web-{24EB2D9E-C759-4845-9537-66EAEF81FB16}" dt="2025-03-06T19:38:22.798" v="1190" actId="1076"/>
          <ac:spMkLst>
            <pc:docMk/>
            <pc:sldMk cId="810637578" sldId="263"/>
            <ac:spMk id="73" creationId="{3F8DD11A-504B-5C66-CB28-E18A86297C80}"/>
          </ac:spMkLst>
        </pc:spChg>
        <pc:spChg chg="mod">
          <ac:chgData name="Yijun Wang" userId="Of/0Pj+qBr5fypY8jeq4N4QA/9LywGn1V9GniuUBQzk=" providerId="None" clId="Web-{24EB2D9E-C759-4845-9537-66EAEF81FB16}" dt="2025-03-06T19:40:24.283" v="1248" actId="1076"/>
          <ac:spMkLst>
            <pc:docMk/>
            <pc:sldMk cId="810637578" sldId="263"/>
            <ac:spMk id="74" creationId="{B3C92025-B1C2-DE05-55FF-4193F0FAA7E6}"/>
          </ac:spMkLst>
        </pc:spChg>
        <pc:spChg chg="add mod">
          <ac:chgData name="Yijun Wang" userId="Of/0Pj+qBr5fypY8jeq4N4QA/9LywGn1V9GniuUBQzk=" providerId="None" clId="Web-{24EB2D9E-C759-4845-9537-66EAEF81FB16}" dt="2025-03-06T19:40:28.252" v="1266" actId="1076"/>
          <ac:spMkLst>
            <pc:docMk/>
            <pc:sldMk cId="810637578" sldId="263"/>
            <ac:spMk id="79" creationId="{C2F0ECF5-FB8F-5F42-9F59-A78A6D3945A6}"/>
          </ac:spMkLst>
        </pc:spChg>
        <pc:spChg chg="add del mod">
          <ac:chgData name="Yijun Wang" userId="Of/0Pj+qBr5fypY8jeq4N4QA/9LywGn1V9GniuUBQzk=" providerId="None" clId="Web-{24EB2D9E-C759-4845-9537-66EAEF81FB16}" dt="2025-03-06T19:09:02.156" v="584"/>
          <ac:spMkLst>
            <pc:docMk/>
            <pc:sldMk cId="810637578" sldId="263"/>
            <ac:spMk id="80" creationId="{34D5D07A-439D-9AC3-D296-87A04A21342E}"/>
          </ac:spMkLst>
        </pc:spChg>
        <pc:spChg chg="add del">
          <ac:chgData name="Yijun Wang" userId="Of/0Pj+qBr5fypY8jeq4N4QA/9LywGn1V9GniuUBQzk=" providerId="None" clId="Web-{24EB2D9E-C759-4845-9537-66EAEF81FB16}" dt="2025-03-06T19:09:19.891" v="589"/>
          <ac:spMkLst>
            <pc:docMk/>
            <pc:sldMk cId="810637578" sldId="263"/>
            <ac:spMk id="81" creationId="{FF915486-2C30-B042-501D-68675DCA31A0}"/>
          </ac:spMkLst>
        </pc:spChg>
        <pc:spChg chg="add mod">
          <ac:chgData name="Yijun Wang" userId="Of/0Pj+qBr5fypY8jeq4N4QA/9LywGn1V9GniuUBQzk=" providerId="None" clId="Web-{24EB2D9E-C759-4845-9537-66EAEF81FB16}" dt="2025-03-06T19:39:09.876" v="1219" actId="1076"/>
          <ac:spMkLst>
            <pc:docMk/>
            <pc:sldMk cId="810637578" sldId="263"/>
            <ac:spMk id="82" creationId="{7AED0D8C-11EB-0BD7-B0E0-03617FA8F4DE}"/>
          </ac:spMkLst>
        </pc:spChg>
        <pc:spChg chg="add del mod">
          <ac:chgData name="Yijun Wang" userId="Of/0Pj+qBr5fypY8jeq4N4QA/9LywGn1V9GniuUBQzk=" providerId="None" clId="Web-{24EB2D9E-C759-4845-9537-66EAEF81FB16}" dt="2025-03-06T18:49:35.723" v="354"/>
          <ac:spMkLst>
            <pc:docMk/>
            <pc:sldMk cId="810637578" sldId="263"/>
            <ac:spMk id="82" creationId="{E181613A-24D5-0F3E-353B-E60A1D6A8FE2}"/>
          </ac:spMkLst>
        </pc:spChg>
        <pc:spChg chg="add mod">
          <ac:chgData name="Yijun Wang" userId="Of/0Pj+qBr5fypY8jeq4N4QA/9LywGn1V9GniuUBQzk=" providerId="None" clId="Web-{24EB2D9E-C759-4845-9537-66EAEF81FB16}" dt="2025-03-06T19:39:10.017" v="1220" actId="1076"/>
          <ac:spMkLst>
            <pc:docMk/>
            <pc:sldMk cId="810637578" sldId="263"/>
            <ac:spMk id="83" creationId="{291E2FCA-7C17-9003-AC5D-0120F795D69F}"/>
          </ac:spMkLst>
        </pc:spChg>
        <pc:spChg chg="add del mod">
          <ac:chgData name="Yijun Wang" userId="Of/0Pj+qBr5fypY8jeq4N4QA/9LywGn1V9GniuUBQzk=" providerId="None" clId="Web-{24EB2D9E-C759-4845-9537-66EAEF81FB16}" dt="2025-03-06T18:49:35.723" v="352"/>
          <ac:spMkLst>
            <pc:docMk/>
            <pc:sldMk cId="810637578" sldId="263"/>
            <ac:spMk id="84" creationId="{DD84C988-EADF-6034-7EAA-7185FC9A912E}"/>
          </ac:spMkLst>
        </pc:spChg>
        <pc:spChg chg="add del mod">
          <ac:chgData name="Yijun Wang" userId="Of/0Pj+qBr5fypY8jeq4N4QA/9LywGn1V9GniuUBQzk=" providerId="None" clId="Web-{24EB2D9E-C759-4845-9537-66EAEF81FB16}" dt="2025-03-06T19:26:28.166" v="838"/>
          <ac:spMkLst>
            <pc:docMk/>
            <pc:sldMk cId="810637578" sldId="263"/>
            <ac:spMk id="85" creationId="{4C530921-3CA9-FF4B-BE25-7CDA5FEC0FDE}"/>
          </ac:spMkLst>
        </pc:spChg>
        <pc:spChg chg="add del mod">
          <ac:chgData name="Yijun Wang" userId="Of/0Pj+qBr5fypY8jeq4N4QA/9LywGn1V9GniuUBQzk=" providerId="None" clId="Web-{24EB2D9E-C759-4845-9537-66EAEF81FB16}" dt="2025-03-06T18:34:11.668" v="147"/>
          <ac:spMkLst>
            <pc:docMk/>
            <pc:sldMk cId="810637578" sldId="263"/>
            <ac:spMk id="85" creationId="{5C220D1B-0CF2-798F-0C19-BE86F0CB9BC0}"/>
          </ac:spMkLst>
        </pc:spChg>
        <pc:spChg chg="add del mod">
          <ac:chgData name="Yijun Wang" userId="Of/0Pj+qBr5fypY8jeq4N4QA/9LywGn1V9GniuUBQzk=" providerId="None" clId="Web-{24EB2D9E-C759-4845-9537-66EAEF81FB16}" dt="2025-03-06T18:49:35.723" v="351"/>
          <ac:spMkLst>
            <pc:docMk/>
            <pc:sldMk cId="810637578" sldId="263"/>
            <ac:spMk id="87" creationId="{67D1ADE1-88B5-6311-C7F5-5E7A46217608}"/>
          </ac:spMkLst>
        </pc:spChg>
        <pc:spChg chg="add del mod">
          <ac:chgData name="Yijun Wang" userId="Of/0Pj+qBr5fypY8jeq4N4QA/9LywGn1V9GniuUBQzk=" providerId="None" clId="Web-{24EB2D9E-C759-4845-9537-66EAEF81FB16}" dt="2025-03-06T19:27:35.229" v="865"/>
          <ac:spMkLst>
            <pc:docMk/>
            <pc:sldMk cId="810637578" sldId="263"/>
            <ac:spMk id="92" creationId="{77116997-86C3-7F11-4CAA-C618D8E18004}"/>
          </ac:spMkLst>
        </pc:spChg>
        <pc:spChg chg="add mod">
          <ac:chgData name="Yijun Wang" userId="Of/0Pj+qBr5fypY8jeq4N4QA/9LywGn1V9GniuUBQzk=" providerId="None" clId="Web-{24EB2D9E-C759-4845-9537-66EAEF81FB16}" dt="2025-03-06T19:39:11.110" v="1227" actId="1076"/>
          <ac:spMkLst>
            <pc:docMk/>
            <pc:sldMk cId="810637578" sldId="263"/>
            <ac:spMk id="94" creationId="{B9BE0AB6-7F02-7264-3DFC-5AD230AB5F76}"/>
          </ac:spMkLst>
        </pc:spChg>
        <pc:spChg chg="add mod">
          <ac:chgData name="Yijun Wang" userId="Of/0Pj+qBr5fypY8jeq4N4QA/9LywGn1V9GniuUBQzk=" providerId="None" clId="Web-{24EB2D9E-C759-4845-9537-66EAEF81FB16}" dt="2025-03-06T19:40:29.252" v="1272" actId="1076"/>
          <ac:spMkLst>
            <pc:docMk/>
            <pc:sldMk cId="810637578" sldId="263"/>
            <ac:spMk id="95" creationId="{F61DC495-FD95-4496-2A52-6475112782E4}"/>
          </ac:spMkLst>
        </pc:spChg>
        <pc:spChg chg="add del mod">
          <ac:chgData name="Yijun Wang" userId="Of/0Pj+qBr5fypY8jeq4N4QA/9LywGn1V9GniuUBQzk=" providerId="None" clId="Web-{24EB2D9E-C759-4845-9537-66EAEF81FB16}" dt="2025-03-06T19:30:33.356" v="927"/>
          <ac:spMkLst>
            <pc:docMk/>
            <pc:sldMk cId="810637578" sldId="263"/>
            <ac:spMk id="96" creationId="{BBCF0619-5352-2546-9417-897ACEAA74D8}"/>
          </ac:spMkLst>
        </pc:spChg>
        <pc:spChg chg="add mod">
          <ac:chgData name="Yijun Wang" userId="Of/0Pj+qBr5fypY8jeq4N4QA/9LywGn1V9GniuUBQzk=" providerId="None" clId="Web-{24EB2D9E-C759-4845-9537-66EAEF81FB16}" dt="2025-03-06T19:40:29.424" v="1273" actId="1076"/>
          <ac:spMkLst>
            <pc:docMk/>
            <pc:sldMk cId="810637578" sldId="263"/>
            <ac:spMk id="97" creationId="{9E55A492-F3A5-C73F-234E-3EF9E05E5138}"/>
          </ac:spMkLst>
        </pc:spChg>
        <pc:spChg chg="add del mod">
          <ac:chgData name="Yijun Wang" userId="Of/0Pj+qBr5fypY8jeq4N4QA/9LywGn1V9GniuUBQzk=" providerId="None" clId="Web-{24EB2D9E-C759-4845-9537-66EAEF81FB16}" dt="2025-03-06T18:47:11.206" v="327"/>
          <ac:spMkLst>
            <pc:docMk/>
            <pc:sldMk cId="810637578" sldId="263"/>
            <ac:spMk id="98" creationId="{80D661F3-1353-8D40-BD8E-ECCD9F5827B1}"/>
          </ac:spMkLst>
        </pc:spChg>
        <pc:spChg chg="add del mod">
          <ac:chgData name="Yijun Wang" userId="Of/0Pj+qBr5fypY8jeq4N4QA/9LywGn1V9GniuUBQzk=" providerId="None" clId="Web-{24EB2D9E-C759-4845-9537-66EAEF81FB16}" dt="2025-03-06T18:52:50.444" v="370"/>
          <ac:spMkLst>
            <pc:docMk/>
            <pc:sldMk cId="810637578" sldId="263"/>
            <ac:spMk id="99" creationId="{EBCFDDF2-B716-3BB7-3291-4A30761D809B}"/>
          </ac:spMkLst>
        </pc:spChg>
        <pc:spChg chg="add mod ord">
          <ac:chgData name="Yijun Wang" userId="Of/0Pj+qBr5fypY8jeq4N4QA/9LywGn1V9GniuUBQzk=" providerId="None" clId="Web-{24EB2D9E-C759-4845-9537-66EAEF81FB16}" dt="2025-03-06T19:39:09.548" v="1217" actId="1076"/>
          <ac:spMkLst>
            <pc:docMk/>
            <pc:sldMk cId="810637578" sldId="263"/>
            <ac:spMk id="100" creationId="{62081406-995D-5EA6-5F35-85B29C5A8BBB}"/>
          </ac:spMkLst>
        </pc:spChg>
        <pc:spChg chg="add mod">
          <ac:chgData name="Yijun Wang" userId="Of/0Pj+qBr5fypY8jeq4N4QA/9LywGn1V9GniuUBQzk=" providerId="None" clId="Web-{24EB2D9E-C759-4845-9537-66EAEF81FB16}" dt="2025-03-06T19:40:29.892" v="1276" actId="1076"/>
          <ac:spMkLst>
            <pc:docMk/>
            <pc:sldMk cId="810637578" sldId="263"/>
            <ac:spMk id="101" creationId="{87CBA8BC-A722-12D2-D73B-A76A5DC56B8C}"/>
          </ac:spMkLst>
        </pc:spChg>
        <pc:spChg chg="add mod">
          <ac:chgData name="Yijun Wang" userId="Of/0Pj+qBr5fypY8jeq4N4QA/9LywGn1V9GniuUBQzk=" providerId="None" clId="Web-{24EB2D9E-C759-4845-9537-66EAEF81FB16}" dt="2025-03-06T19:40:30.049" v="1277" actId="1076"/>
          <ac:spMkLst>
            <pc:docMk/>
            <pc:sldMk cId="810637578" sldId="263"/>
            <ac:spMk id="102" creationId="{6747F563-CC30-1FD6-35F9-1FB24DF40920}"/>
          </ac:spMkLst>
        </pc:spChg>
        <pc:spChg chg="mod">
          <ac:chgData name="Yijun Wang" userId="Of/0Pj+qBr5fypY8jeq4N4QA/9LywGn1V9GniuUBQzk=" providerId="None" clId="Web-{24EB2D9E-C759-4845-9537-66EAEF81FB16}" dt="2025-03-06T19:40:24.502" v="1249" actId="1076"/>
          <ac:spMkLst>
            <pc:docMk/>
            <pc:sldMk cId="810637578" sldId="263"/>
            <ac:spMk id="108" creationId="{EB60DA79-98D9-455B-C0D6-1BF683D29B67}"/>
          </ac:spMkLst>
        </pc:spChg>
        <pc:spChg chg="mod">
          <ac:chgData name="Yijun Wang" userId="Of/0Pj+qBr5fypY8jeq4N4QA/9LywGn1V9GniuUBQzk=" providerId="None" clId="Web-{24EB2D9E-C759-4845-9537-66EAEF81FB16}" dt="2025-03-06T19:39:06.220" v="1196" actId="1076"/>
          <ac:spMkLst>
            <pc:docMk/>
            <pc:sldMk cId="810637578" sldId="263"/>
            <ac:spMk id="110" creationId="{A96DFA2A-AD02-06B6-8283-C65D12DC2FE0}"/>
          </ac:spMkLst>
        </pc:spChg>
        <pc:spChg chg="mod">
          <ac:chgData name="Yijun Wang" userId="Of/0Pj+qBr5fypY8jeq4N4QA/9LywGn1V9GniuUBQzk=" providerId="None" clId="Web-{24EB2D9E-C759-4845-9537-66EAEF81FB16}" dt="2025-03-06T19:39:07.814" v="1206" actId="1076"/>
          <ac:spMkLst>
            <pc:docMk/>
            <pc:sldMk cId="810637578" sldId="263"/>
            <ac:spMk id="111" creationId="{9D02A781-2653-3BA5-3688-790B147C0918}"/>
          </ac:spMkLst>
        </pc:spChg>
        <pc:spChg chg="mod ord">
          <ac:chgData name="Yijun Wang" userId="Of/0Pj+qBr5fypY8jeq4N4QA/9LywGn1V9GniuUBQzk=" providerId="None" clId="Web-{24EB2D9E-C759-4845-9537-66EAEF81FB16}" dt="2025-03-06T19:39:06.689" v="1199" actId="1076"/>
          <ac:spMkLst>
            <pc:docMk/>
            <pc:sldMk cId="810637578" sldId="263"/>
            <ac:spMk id="115" creationId="{B9659D5E-9329-8C4D-19AA-2F3B70CA831A}"/>
          </ac:spMkLst>
        </pc:spChg>
        <pc:spChg chg="mod ord">
          <ac:chgData name="Yijun Wang" userId="Of/0Pj+qBr5fypY8jeq4N4QA/9LywGn1V9GniuUBQzk=" providerId="None" clId="Web-{24EB2D9E-C759-4845-9537-66EAEF81FB16}" dt="2025-03-06T19:40:24.767" v="1250" actId="1076"/>
          <ac:spMkLst>
            <pc:docMk/>
            <pc:sldMk cId="810637578" sldId="263"/>
            <ac:spMk id="116" creationId="{A9F259AD-CA66-F76C-A61C-3BC5BA60090A}"/>
          </ac:spMkLst>
        </pc:spChg>
        <pc:spChg chg="mod ord">
          <ac:chgData name="Yijun Wang" userId="Of/0Pj+qBr5fypY8jeq4N4QA/9LywGn1V9GniuUBQzk=" providerId="None" clId="Web-{24EB2D9E-C759-4845-9537-66EAEF81FB16}" dt="2025-03-06T19:40:25.002" v="1251" actId="1076"/>
          <ac:spMkLst>
            <pc:docMk/>
            <pc:sldMk cId="810637578" sldId="263"/>
            <ac:spMk id="117" creationId="{69A1A130-C723-FF80-8C52-4585B88A6FCF}"/>
          </ac:spMkLst>
        </pc:spChg>
        <pc:spChg chg="mod ord">
          <ac:chgData name="Yijun Wang" userId="Of/0Pj+qBr5fypY8jeq4N4QA/9LywGn1V9GniuUBQzk=" providerId="None" clId="Web-{24EB2D9E-C759-4845-9537-66EAEF81FB16}" dt="2025-03-06T19:40:25.221" v="1252" actId="1076"/>
          <ac:spMkLst>
            <pc:docMk/>
            <pc:sldMk cId="810637578" sldId="263"/>
            <ac:spMk id="118" creationId="{3DD98C7D-5EDC-60EB-67A1-41AEE24ED37B}"/>
          </ac:spMkLst>
        </pc:spChg>
        <pc:spChg chg="del mod">
          <ac:chgData name="Yijun Wang" userId="Of/0Pj+qBr5fypY8jeq4N4QA/9LywGn1V9GniuUBQzk=" providerId="None" clId="Web-{24EB2D9E-C759-4845-9537-66EAEF81FB16}" dt="2025-03-06T18:22:10.490" v="38"/>
          <ac:spMkLst>
            <pc:docMk/>
            <pc:sldMk cId="810637578" sldId="263"/>
            <ac:spMk id="119" creationId="{79E07C36-DAB6-0085-DC3C-D32BF463B8EC}"/>
          </ac:spMkLst>
        </pc:spChg>
        <pc:spChg chg="mod ord">
          <ac:chgData name="Yijun Wang" userId="Of/0Pj+qBr5fypY8jeq4N4QA/9LywGn1V9GniuUBQzk=" providerId="None" clId="Web-{24EB2D9E-C759-4845-9537-66EAEF81FB16}" dt="2025-03-06T19:40:25.439" v="1253" actId="1076"/>
          <ac:spMkLst>
            <pc:docMk/>
            <pc:sldMk cId="810637578" sldId="263"/>
            <ac:spMk id="120" creationId="{5D518FEE-1E32-2924-21B4-CD59FF28FE59}"/>
          </ac:spMkLst>
        </pc:spChg>
        <pc:spChg chg="mod ord">
          <ac:chgData name="Yijun Wang" userId="Of/0Pj+qBr5fypY8jeq4N4QA/9LywGn1V9GniuUBQzk=" providerId="None" clId="Web-{24EB2D9E-C759-4845-9537-66EAEF81FB16}" dt="2025-03-06T19:40:25.627" v="1254" actId="1076"/>
          <ac:spMkLst>
            <pc:docMk/>
            <pc:sldMk cId="810637578" sldId="263"/>
            <ac:spMk id="121" creationId="{D9D25C7C-098D-2C8F-07C2-761BEB269C1A}"/>
          </ac:spMkLst>
        </pc:spChg>
        <pc:spChg chg="mod">
          <ac:chgData name="Yijun Wang" userId="Of/0Pj+qBr5fypY8jeq4N4QA/9LywGn1V9GniuUBQzk=" providerId="None" clId="Web-{24EB2D9E-C759-4845-9537-66EAEF81FB16}" dt="2025-03-06T19:40:26.455" v="1258" actId="1076"/>
          <ac:spMkLst>
            <pc:docMk/>
            <pc:sldMk cId="810637578" sldId="263"/>
            <ac:spMk id="129" creationId="{60379B83-44AA-B82F-BAE2-D5004C843B15}"/>
          </ac:spMkLst>
        </pc:spChg>
        <pc:spChg chg="mod">
          <ac:chgData name="Yijun Wang" userId="Of/0Pj+qBr5fypY8jeq4N4QA/9LywGn1V9GniuUBQzk=" providerId="None" clId="Web-{24EB2D9E-C759-4845-9537-66EAEF81FB16}" dt="2025-03-06T19:40:26.689" v="1259" actId="1076"/>
          <ac:spMkLst>
            <pc:docMk/>
            <pc:sldMk cId="810637578" sldId="263"/>
            <ac:spMk id="130" creationId="{6BF3D9FB-CFA2-2870-3919-9B65C3D7C247}"/>
          </ac:spMkLst>
        </pc:spChg>
        <pc:spChg chg="mod">
          <ac:chgData name="Yijun Wang" userId="Of/0Pj+qBr5fypY8jeq4N4QA/9LywGn1V9GniuUBQzk=" providerId="None" clId="Web-{24EB2D9E-C759-4845-9537-66EAEF81FB16}" dt="2025-03-06T19:40:26.908" v="1260" actId="1076"/>
          <ac:spMkLst>
            <pc:docMk/>
            <pc:sldMk cId="810637578" sldId="263"/>
            <ac:spMk id="131" creationId="{819F5578-C28C-FF3C-FBF1-7515909356F6}"/>
          </ac:spMkLst>
        </pc:spChg>
        <pc:spChg chg="mod">
          <ac:chgData name="Yijun Wang" userId="Of/0Pj+qBr5fypY8jeq4N4QA/9LywGn1V9GniuUBQzk=" providerId="None" clId="Web-{24EB2D9E-C759-4845-9537-66EAEF81FB16}" dt="2025-03-06T19:40:27.127" v="1261" actId="1076"/>
          <ac:spMkLst>
            <pc:docMk/>
            <pc:sldMk cId="810637578" sldId="263"/>
            <ac:spMk id="132" creationId="{75DCE009-7AEF-AAAA-D49D-6B36D9754678}"/>
          </ac:spMkLst>
        </pc:spChg>
        <pc:spChg chg="mod">
          <ac:chgData name="Yijun Wang" userId="Of/0Pj+qBr5fypY8jeq4N4QA/9LywGn1V9GniuUBQzk=" providerId="None" clId="Web-{24EB2D9E-C759-4845-9537-66EAEF81FB16}" dt="2025-03-06T19:40:27.314" v="1262" actId="1076"/>
          <ac:spMkLst>
            <pc:docMk/>
            <pc:sldMk cId="810637578" sldId="263"/>
            <ac:spMk id="133" creationId="{C4A6260A-6D48-7FD6-FB55-32BA221F86C1}"/>
          </ac:spMkLst>
        </pc:spChg>
        <pc:spChg chg="mod">
          <ac:chgData name="Yijun Wang" userId="Of/0Pj+qBr5fypY8jeq4N4QA/9LywGn1V9GniuUBQzk=" providerId="None" clId="Web-{24EB2D9E-C759-4845-9537-66EAEF81FB16}" dt="2025-03-06T19:40:27.549" v="1263" actId="1076"/>
          <ac:spMkLst>
            <pc:docMk/>
            <pc:sldMk cId="810637578" sldId="263"/>
            <ac:spMk id="134" creationId="{16139CE1-6FBC-0EB4-DE69-B920371AB29C}"/>
          </ac:spMkLst>
        </pc:spChg>
        <pc:graphicFrameChg chg="mod">
          <ac:chgData name="Yijun Wang" userId="Of/0Pj+qBr5fypY8jeq4N4QA/9LywGn1V9GniuUBQzk=" providerId="None" clId="Web-{24EB2D9E-C759-4845-9537-66EAEF81FB16}" dt="2025-03-06T18:24:07.225" v="55" actId="1076"/>
          <ac:graphicFrameMkLst>
            <pc:docMk/>
            <pc:sldMk cId="810637578" sldId="263"/>
            <ac:graphicFrameMk id="15" creationId="{F2CC98FE-1222-0671-656F-75F8DBAB233D}"/>
          </ac:graphicFrameMkLst>
        </pc:graphicFrameChg>
        <pc:graphicFrameChg chg="mod modGraphic">
          <ac:chgData name="Yijun Wang" userId="Of/0Pj+qBr5fypY8jeq4N4QA/9LywGn1V9GniuUBQzk=" providerId="None" clId="Web-{24EB2D9E-C759-4845-9537-66EAEF81FB16}" dt="2025-03-06T19:40:28.033" v="1265" actId="1076"/>
          <ac:graphicFrameMkLst>
            <pc:docMk/>
            <pc:sldMk cId="810637578" sldId="263"/>
            <ac:graphicFrameMk id="24" creationId="{7274279B-F42A-9AD0-943B-BBB4F1D0EF0B}"/>
          </ac:graphicFrameMkLst>
        </pc:graphicFrameChg>
        <pc:graphicFrameChg chg="add mod modGraphic">
          <ac:chgData name="Yijun Wang" userId="Of/0Pj+qBr5fypY8jeq4N4QA/9LywGn1V9GniuUBQzk=" providerId="None" clId="Web-{24EB2D9E-C759-4845-9537-66EAEF81FB16}" dt="2025-03-06T19:40:30.908" v="1282" actId="1076"/>
          <ac:graphicFrameMkLst>
            <pc:docMk/>
            <pc:sldMk cId="810637578" sldId="263"/>
            <ac:graphicFrameMk id="59" creationId="{6C68D193-3D06-18DE-91FA-EC00A48BD7EC}"/>
          </ac:graphicFrameMkLst>
        </pc:graphicFrameChg>
        <pc:graphicFrameChg chg="add del mod modGraphic">
          <ac:chgData name="Yijun Wang" userId="Of/0Pj+qBr5fypY8jeq4N4QA/9LywGn1V9GniuUBQzk=" providerId="None" clId="Web-{24EB2D9E-C759-4845-9537-66EAEF81FB16}" dt="2025-03-06T18:45:45.721" v="316"/>
          <ac:graphicFrameMkLst>
            <pc:docMk/>
            <pc:sldMk cId="810637578" sldId="263"/>
            <ac:graphicFrameMk id="86" creationId="{37A66713-3480-02AB-D089-0BFF1BDD38BA}"/>
          </ac:graphicFrameMkLst>
        </pc:graphicFrameChg>
        <pc:graphicFrameChg chg="mod">
          <ac:chgData name="Yijun Wang" userId="Of/0Pj+qBr5fypY8jeq4N4QA/9LywGn1V9GniuUBQzk=" providerId="None" clId="Web-{24EB2D9E-C759-4845-9537-66EAEF81FB16}" dt="2025-03-06T18:20:43.895" v="14" actId="1076"/>
          <ac:graphicFrameMkLst>
            <pc:docMk/>
            <pc:sldMk cId="810637578" sldId="263"/>
            <ac:graphicFrameMk id="137" creationId="{D0909573-BD8B-F1EF-2A78-5D0C57910215}"/>
          </ac:graphicFrameMkLst>
        </pc:graphicFrameChg>
        <pc:picChg chg="mod">
          <ac:chgData name="Yijun Wang" userId="Of/0Pj+qBr5fypY8jeq4N4QA/9LywGn1V9GniuUBQzk=" providerId="None" clId="Web-{24EB2D9E-C759-4845-9537-66EAEF81FB16}" dt="2025-03-06T18:47:30.816" v="328" actId="1076"/>
          <ac:picMkLst>
            <pc:docMk/>
            <pc:sldMk cId="810637578" sldId="263"/>
            <ac:picMk id="34" creationId="{6F317624-54BB-CAB1-F192-71909F611D1B}"/>
          </ac:picMkLst>
        </pc:picChg>
        <pc:picChg chg="mod">
          <ac:chgData name="Yijun Wang" userId="Of/0Pj+qBr5fypY8jeq4N4QA/9LywGn1V9GniuUBQzk=" providerId="None" clId="Web-{24EB2D9E-C759-4845-9537-66EAEF81FB16}" dt="2025-03-06T19:06:32.967" v="481" actId="14100"/>
          <ac:picMkLst>
            <pc:docMk/>
            <pc:sldMk cId="810637578" sldId="263"/>
            <ac:picMk id="69" creationId="{6E05C199-27CC-5AEC-6B01-C46E9B3D346F}"/>
          </ac:picMkLst>
        </pc:picChg>
        <pc:picChg chg="mod">
          <ac:chgData name="Yijun Wang" userId="Of/0Pj+qBr5fypY8jeq4N4QA/9LywGn1V9GniuUBQzk=" providerId="None" clId="Web-{24EB2D9E-C759-4845-9537-66EAEF81FB16}" dt="2025-03-06T19:30:55.153" v="935" actId="14100"/>
          <ac:picMkLst>
            <pc:docMk/>
            <pc:sldMk cId="810637578" sldId="263"/>
            <ac:picMk id="135" creationId="{B51AE199-CA1B-61A5-524E-4E32922D6E5C}"/>
          </ac:picMkLst>
        </pc:picChg>
        <pc:picChg chg="mod">
          <ac:chgData name="Yijun Wang" userId="Of/0Pj+qBr5fypY8jeq4N4QA/9LywGn1V9GniuUBQzk=" providerId="None" clId="Web-{24EB2D9E-C759-4845-9537-66EAEF81FB16}" dt="2025-03-06T19:30:47.981" v="933" actId="14100"/>
          <ac:picMkLst>
            <pc:docMk/>
            <pc:sldMk cId="810637578" sldId="263"/>
            <ac:picMk id="136" creationId="{05916903-9926-EC8C-54D0-971BAC4860ED}"/>
          </ac:picMkLst>
        </pc:picChg>
        <pc:cxnChg chg="add del mod">
          <ac:chgData name="Yijun Wang" userId="Of/0Pj+qBr5fypY8jeq4N4QA/9LywGn1V9GniuUBQzk=" providerId="None" clId="Web-{24EB2D9E-C759-4845-9537-66EAEF81FB16}" dt="2025-03-06T18:22:24.099" v="42"/>
          <ac:cxnSpMkLst>
            <pc:docMk/>
            <pc:sldMk cId="810637578" sldId="263"/>
            <ac:cxnSpMk id="14" creationId="{20434B1B-D211-35EB-3E27-CC555985273C}"/>
          </ac:cxnSpMkLst>
        </pc:cxnChg>
        <pc:cxnChg chg="add del mod">
          <ac:chgData name="Yijun Wang" userId="Of/0Pj+qBr5fypY8jeq4N4QA/9LywGn1V9GniuUBQzk=" providerId="None" clId="Web-{24EB2D9E-C759-4845-9537-66EAEF81FB16}" dt="2025-03-06T19:15:24.878" v="738"/>
          <ac:cxnSpMkLst>
            <pc:docMk/>
            <pc:sldMk cId="810637578" sldId="263"/>
            <ac:cxnSpMk id="23" creationId="{3B5673D6-6193-F46F-59A6-9B8C4916B9DB}"/>
          </ac:cxnSpMkLst>
        </pc:cxnChg>
        <pc:cxnChg chg="add mod">
          <ac:chgData name="Yijun Wang" userId="Of/0Pj+qBr5fypY8jeq4N4QA/9LywGn1V9GniuUBQzk=" providerId="None" clId="Web-{24EB2D9E-C759-4845-9537-66EAEF81FB16}" dt="2025-03-06T19:40:04.595" v="1247" actId="14100"/>
          <ac:cxnSpMkLst>
            <pc:docMk/>
            <pc:sldMk cId="810637578" sldId="263"/>
            <ac:cxnSpMk id="26" creationId="{9E37D577-5CD7-4A5A-323B-6B5FBEDA41A6}"/>
          </ac:cxnSpMkLst>
        </pc:cxnChg>
        <pc:cxnChg chg="add del mod">
          <ac:chgData name="Yijun Wang" userId="Of/0Pj+qBr5fypY8jeq4N4QA/9LywGn1V9GniuUBQzk=" providerId="None" clId="Web-{24EB2D9E-C759-4845-9537-66EAEF81FB16}" dt="2025-03-06T19:03:20.950" v="472"/>
          <ac:cxnSpMkLst>
            <pc:docMk/>
            <pc:sldMk cId="810637578" sldId="263"/>
            <ac:cxnSpMk id="33" creationId="{EEC8BEDF-3357-1346-0925-E07F11326C36}"/>
          </ac:cxnSpMkLst>
        </pc:cxnChg>
        <pc:cxnChg chg="add del mod">
          <ac:chgData name="Yijun Wang" userId="Of/0Pj+qBr5fypY8jeq4N4QA/9LywGn1V9GniuUBQzk=" providerId="None" clId="Web-{24EB2D9E-C759-4845-9537-66EAEF81FB16}" dt="2025-03-06T18:31:53.964" v="93"/>
          <ac:cxnSpMkLst>
            <pc:docMk/>
            <pc:sldMk cId="810637578" sldId="263"/>
            <ac:cxnSpMk id="35" creationId="{27605C58-887F-A8A6-8847-BEE537989835}"/>
          </ac:cxnSpMkLst>
        </pc:cxnChg>
        <pc:cxnChg chg="add mod">
          <ac:chgData name="Yijun Wang" userId="Of/0Pj+qBr5fypY8jeq4N4QA/9LywGn1V9GniuUBQzk=" providerId="None" clId="Web-{24EB2D9E-C759-4845-9537-66EAEF81FB16}" dt="2025-03-06T19:40:30.721" v="1281" actId="1076"/>
          <ac:cxnSpMkLst>
            <pc:docMk/>
            <pc:sldMk cId="810637578" sldId="263"/>
            <ac:cxnSpMk id="39" creationId="{19A3E57F-DBD2-D119-F06F-2A80BE09D5AA}"/>
          </ac:cxnSpMkLst>
        </pc:cxnChg>
        <pc:cxnChg chg="mod">
          <ac:chgData name="Yijun Wang" userId="Of/0Pj+qBr5fypY8jeq4N4QA/9LywGn1V9GniuUBQzk=" providerId="None" clId="Web-{24EB2D9E-C759-4845-9537-66EAEF81FB16}" dt="2025-03-06T18:24:01.631" v="54" actId="1076"/>
          <ac:cxnSpMkLst>
            <pc:docMk/>
            <pc:sldMk cId="810637578" sldId="263"/>
            <ac:cxnSpMk id="52" creationId="{E28AB7AB-5F70-F792-9554-7A891E004F8D}"/>
          </ac:cxnSpMkLst>
        </pc:cxnChg>
        <pc:cxnChg chg="mod">
          <ac:chgData name="Yijun Wang" userId="Of/0Pj+qBr5fypY8jeq4N4QA/9LywGn1V9GniuUBQzk=" providerId="None" clId="Web-{24EB2D9E-C759-4845-9537-66EAEF81FB16}" dt="2025-03-06T18:18:40.519" v="1" actId="1076"/>
          <ac:cxnSpMkLst>
            <pc:docMk/>
            <pc:sldMk cId="810637578" sldId="263"/>
            <ac:cxnSpMk id="55" creationId="{1724909C-7D2F-3B28-6FF4-B3076A59A6A7}"/>
          </ac:cxnSpMkLst>
        </pc:cxnChg>
        <pc:cxnChg chg="mod">
          <ac:chgData name="Yijun Wang" userId="Of/0Pj+qBr5fypY8jeq4N4QA/9LywGn1V9GniuUBQzk=" providerId="None" clId="Web-{24EB2D9E-C759-4845-9537-66EAEF81FB16}" dt="2025-03-06T18:34:40.403" v="149" actId="14100"/>
          <ac:cxnSpMkLst>
            <pc:docMk/>
            <pc:sldMk cId="810637578" sldId="263"/>
            <ac:cxnSpMk id="58" creationId="{8192D790-E699-74CA-0F98-AA166A3F71C2}"/>
          </ac:cxnSpMkLst>
        </pc:cxnChg>
        <pc:cxnChg chg="add del mod">
          <ac:chgData name="Yijun Wang" userId="Of/0Pj+qBr5fypY8jeq4N4QA/9LywGn1V9GniuUBQzk=" providerId="None" clId="Web-{24EB2D9E-C759-4845-9537-66EAEF81FB16}" dt="2025-03-06T18:31:12.057" v="82"/>
          <ac:cxnSpMkLst>
            <pc:docMk/>
            <pc:sldMk cId="810637578" sldId="263"/>
            <ac:cxnSpMk id="69" creationId="{8C681255-89B3-2A06-2ED5-5D32F842155B}"/>
          </ac:cxnSpMkLst>
        </pc:cxnChg>
        <pc:cxnChg chg="add del mod">
          <ac:chgData name="Yijun Wang" userId="Of/0Pj+qBr5fypY8jeq4N4QA/9LywGn1V9GniuUBQzk=" providerId="None" clId="Web-{24EB2D9E-C759-4845-9537-66EAEF81FB16}" dt="2025-03-06T18:39:35.562" v="251"/>
          <ac:cxnSpMkLst>
            <pc:docMk/>
            <pc:sldMk cId="810637578" sldId="263"/>
            <ac:cxnSpMk id="78" creationId="{D93D2FAD-A864-AF1C-C93E-D399BB048EE8}"/>
          </ac:cxnSpMkLst>
        </pc:cxnChg>
        <pc:cxnChg chg="add del mod">
          <ac:chgData name="Yijun Wang" userId="Of/0Pj+qBr5fypY8jeq4N4QA/9LywGn1V9GniuUBQzk=" providerId="None" clId="Web-{24EB2D9E-C759-4845-9537-66EAEF81FB16}" dt="2025-03-06T18:32:17.761" v="99"/>
          <ac:cxnSpMkLst>
            <pc:docMk/>
            <pc:sldMk cId="810637578" sldId="263"/>
            <ac:cxnSpMk id="79" creationId="{F3DF7770-DB8A-DD87-AC75-09005CFC3B49}"/>
          </ac:cxnSpMkLst>
        </pc:cxnChg>
        <pc:cxnChg chg="add del mod">
          <ac:chgData name="Yijun Wang" userId="Of/0Pj+qBr5fypY8jeq4N4QA/9LywGn1V9GniuUBQzk=" providerId="None" clId="Web-{24EB2D9E-C759-4845-9537-66EAEF81FB16}" dt="2025-03-06T18:32:45.292" v="102"/>
          <ac:cxnSpMkLst>
            <pc:docMk/>
            <pc:sldMk cId="810637578" sldId="263"/>
            <ac:cxnSpMk id="80" creationId="{B1700635-914A-EEF5-AB44-B3169942844F}"/>
          </ac:cxnSpMkLst>
        </pc:cxnChg>
        <pc:cxnChg chg="add del mod">
          <ac:chgData name="Yijun Wang" userId="Of/0Pj+qBr5fypY8jeq4N4QA/9LywGn1V9GniuUBQzk=" providerId="None" clId="Web-{24EB2D9E-C759-4845-9537-66EAEF81FB16}" dt="2025-03-06T18:49:35.723" v="355"/>
          <ac:cxnSpMkLst>
            <pc:docMk/>
            <pc:sldMk cId="810637578" sldId="263"/>
            <ac:cxnSpMk id="81" creationId="{099B63BC-8150-848D-91FF-13A934B3FACD}"/>
          </ac:cxnSpMkLst>
        </pc:cxnChg>
        <pc:cxnChg chg="add del mod">
          <ac:chgData name="Yijun Wang" userId="Of/0Pj+qBr5fypY8jeq4N4QA/9LywGn1V9GniuUBQzk=" providerId="None" clId="Web-{24EB2D9E-C759-4845-9537-66EAEF81FB16}" dt="2025-03-06T18:49:35.723" v="353"/>
          <ac:cxnSpMkLst>
            <pc:docMk/>
            <pc:sldMk cId="810637578" sldId="263"/>
            <ac:cxnSpMk id="83" creationId="{F6CA330A-813C-AC52-4EAF-7881F20DEAFC}"/>
          </ac:cxnSpMkLst>
        </pc:cxnChg>
        <pc:cxnChg chg="add mod">
          <ac:chgData name="Yijun Wang" userId="Of/0Pj+qBr5fypY8jeq4N4QA/9LywGn1V9GniuUBQzk=" providerId="None" clId="Web-{24EB2D9E-C759-4845-9537-66EAEF81FB16}" dt="2025-03-06T19:39:10.173" v="1221" actId="1076"/>
          <ac:cxnSpMkLst>
            <pc:docMk/>
            <pc:sldMk cId="810637578" sldId="263"/>
            <ac:cxnSpMk id="84" creationId="{E57120C4-47E8-DE15-CDEB-3C9498046445}"/>
          </ac:cxnSpMkLst>
        </pc:cxnChg>
        <pc:cxnChg chg="add mod">
          <ac:chgData name="Yijun Wang" userId="Of/0Pj+qBr5fypY8jeq4N4QA/9LywGn1V9GniuUBQzk=" providerId="None" clId="Web-{24EB2D9E-C759-4845-9537-66EAEF81FB16}" dt="2025-03-06T19:40:28.424" v="1267" actId="1076"/>
          <ac:cxnSpMkLst>
            <pc:docMk/>
            <pc:sldMk cId="810637578" sldId="263"/>
            <ac:cxnSpMk id="86" creationId="{B4283CBC-6D4F-0230-34BF-98AA25594EF6}"/>
          </ac:cxnSpMkLst>
        </pc:cxnChg>
        <pc:cxnChg chg="add del mod">
          <ac:chgData name="Yijun Wang" userId="Of/0Pj+qBr5fypY8jeq4N4QA/9LywGn1V9GniuUBQzk=" providerId="None" clId="Web-{24EB2D9E-C759-4845-9537-66EAEF81FB16}" dt="2025-03-06T19:19:16.068" v="784"/>
          <ac:cxnSpMkLst>
            <pc:docMk/>
            <pc:sldMk cId="810637578" sldId="263"/>
            <ac:cxnSpMk id="87" creationId="{C8570A9C-B82C-7698-0851-55D8EF10A3FF}"/>
          </ac:cxnSpMkLst>
        </pc:cxnChg>
        <pc:cxnChg chg="add del">
          <ac:chgData name="Yijun Wang" userId="Of/0Pj+qBr5fypY8jeq4N4QA/9LywGn1V9GniuUBQzk=" providerId="None" clId="Web-{24EB2D9E-C759-4845-9537-66EAEF81FB16}" dt="2025-03-06T18:40:21.687" v="261"/>
          <ac:cxnSpMkLst>
            <pc:docMk/>
            <pc:sldMk cId="810637578" sldId="263"/>
            <ac:cxnSpMk id="88" creationId="{14B568DD-F89F-7F00-401F-5E3592EE8DAE}"/>
          </ac:cxnSpMkLst>
        </pc:cxnChg>
        <pc:cxnChg chg="add mod">
          <ac:chgData name="Yijun Wang" userId="Of/0Pj+qBr5fypY8jeq4N4QA/9LywGn1V9GniuUBQzk=" providerId="None" clId="Web-{24EB2D9E-C759-4845-9537-66EAEF81FB16}" dt="2025-03-06T19:40:28.596" v="1268" actId="1076"/>
          <ac:cxnSpMkLst>
            <pc:docMk/>
            <pc:sldMk cId="810637578" sldId="263"/>
            <ac:cxnSpMk id="88" creationId="{541FA767-FE93-EA64-8867-B2C5F8AD6569}"/>
          </ac:cxnSpMkLst>
        </pc:cxnChg>
        <pc:cxnChg chg="add mod">
          <ac:chgData name="Yijun Wang" userId="Of/0Pj+qBr5fypY8jeq4N4QA/9LywGn1V9GniuUBQzk=" providerId="None" clId="Web-{24EB2D9E-C759-4845-9537-66EAEF81FB16}" dt="2025-03-06T19:40:28.752" v="1269" actId="1076"/>
          <ac:cxnSpMkLst>
            <pc:docMk/>
            <pc:sldMk cId="810637578" sldId="263"/>
            <ac:cxnSpMk id="89" creationId="{1B8F2005-15ED-EF1F-E731-59B591DA931F}"/>
          </ac:cxnSpMkLst>
        </pc:cxnChg>
        <pc:cxnChg chg="add del">
          <ac:chgData name="Yijun Wang" userId="Of/0Pj+qBr5fypY8jeq4N4QA/9LywGn1V9GniuUBQzk=" providerId="None" clId="Web-{24EB2D9E-C759-4845-9537-66EAEF81FB16}" dt="2025-03-06T18:40:20.718" v="260"/>
          <ac:cxnSpMkLst>
            <pc:docMk/>
            <pc:sldMk cId="810637578" sldId="263"/>
            <ac:cxnSpMk id="89" creationId="{A02A64B1-5861-14A5-38F1-07AB816DBD97}"/>
          </ac:cxnSpMkLst>
        </pc:cxnChg>
        <pc:cxnChg chg="add mod">
          <ac:chgData name="Yijun Wang" userId="Of/0Pj+qBr5fypY8jeq4N4QA/9LywGn1V9GniuUBQzk=" providerId="None" clId="Web-{24EB2D9E-C759-4845-9537-66EAEF81FB16}" dt="2025-03-06T19:40:28.924" v="1270" actId="1076"/>
          <ac:cxnSpMkLst>
            <pc:docMk/>
            <pc:sldMk cId="810637578" sldId="263"/>
            <ac:cxnSpMk id="90" creationId="{0AA764BC-04FD-0360-B559-95F6FF979942}"/>
          </ac:cxnSpMkLst>
        </pc:cxnChg>
        <pc:cxnChg chg="add del">
          <ac:chgData name="Yijun Wang" userId="Of/0Pj+qBr5fypY8jeq4N4QA/9LywGn1V9GniuUBQzk=" providerId="None" clId="Web-{24EB2D9E-C759-4845-9537-66EAEF81FB16}" dt="2025-03-06T18:40:19.890" v="259"/>
          <ac:cxnSpMkLst>
            <pc:docMk/>
            <pc:sldMk cId="810637578" sldId="263"/>
            <ac:cxnSpMk id="90" creationId="{F3E81A73-B9A0-6EE3-C67D-07031D5D5676}"/>
          </ac:cxnSpMkLst>
        </pc:cxnChg>
        <pc:cxnChg chg="add mod">
          <ac:chgData name="Yijun Wang" userId="Of/0Pj+qBr5fypY8jeq4N4QA/9LywGn1V9GniuUBQzk=" providerId="None" clId="Web-{24EB2D9E-C759-4845-9537-66EAEF81FB16}" dt="2025-03-06T19:40:29.080" v="1271" actId="1076"/>
          <ac:cxnSpMkLst>
            <pc:docMk/>
            <pc:sldMk cId="810637578" sldId="263"/>
            <ac:cxnSpMk id="91" creationId="{587E658E-AD18-AA8C-07F0-9EEEF79B4E0C}"/>
          </ac:cxnSpMkLst>
        </pc:cxnChg>
        <pc:cxnChg chg="add del mod">
          <ac:chgData name="Yijun Wang" userId="Of/0Pj+qBr5fypY8jeq4N4QA/9LywGn1V9GniuUBQzk=" providerId="None" clId="Web-{24EB2D9E-C759-4845-9537-66EAEF81FB16}" dt="2025-03-06T18:49:14.364" v="338"/>
          <ac:cxnSpMkLst>
            <pc:docMk/>
            <pc:sldMk cId="810637578" sldId="263"/>
            <ac:cxnSpMk id="91" creationId="{B38F86E9-F55A-4923-9818-CBC399A42F97}"/>
          </ac:cxnSpMkLst>
        </pc:cxnChg>
        <pc:cxnChg chg="add del mod">
          <ac:chgData name="Yijun Wang" userId="Of/0Pj+qBr5fypY8jeq4N4QA/9LywGn1V9GniuUBQzk=" providerId="None" clId="Web-{24EB2D9E-C759-4845-9537-66EAEF81FB16}" dt="2025-03-06T18:41:35" v="273"/>
          <ac:cxnSpMkLst>
            <pc:docMk/>
            <pc:sldMk cId="810637578" sldId="263"/>
            <ac:cxnSpMk id="92" creationId="{2A66A86B-FEAE-16C9-AFDF-6524DB19713B}"/>
          </ac:cxnSpMkLst>
        </pc:cxnChg>
        <pc:cxnChg chg="add del mod">
          <ac:chgData name="Yijun Wang" userId="Of/0Pj+qBr5fypY8jeq4N4QA/9LywGn1V9GniuUBQzk=" providerId="None" clId="Web-{24EB2D9E-C759-4845-9537-66EAEF81FB16}" dt="2025-03-06T18:42:34.563" v="281"/>
          <ac:cxnSpMkLst>
            <pc:docMk/>
            <pc:sldMk cId="810637578" sldId="263"/>
            <ac:cxnSpMk id="93" creationId="{10D4F683-8E09-81FE-A9D0-4FB94C4D62A0}"/>
          </ac:cxnSpMkLst>
        </pc:cxnChg>
        <pc:cxnChg chg="add del mod">
          <ac:chgData name="Yijun Wang" userId="Of/0Pj+qBr5fypY8jeq4N4QA/9LywGn1V9GniuUBQzk=" providerId="None" clId="Web-{24EB2D9E-C759-4845-9537-66EAEF81FB16}" dt="2025-03-06T18:49:17.770" v="341"/>
          <ac:cxnSpMkLst>
            <pc:docMk/>
            <pc:sldMk cId="810637578" sldId="263"/>
            <ac:cxnSpMk id="94" creationId="{D5324DEA-4C1A-3D8C-BCCD-BD61363D3589}"/>
          </ac:cxnSpMkLst>
        </pc:cxnChg>
        <pc:cxnChg chg="add del mod">
          <ac:chgData name="Yijun Wang" userId="Of/0Pj+qBr5fypY8jeq4N4QA/9LywGn1V9GniuUBQzk=" providerId="None" clId="Web-{24EB2D9E-C759-4845-9537-66EAEF81FB16}" dt="2025-03-06T18:48:52.879" v="334"/>
          <ac:cxnSpMkLst>
            <pc:docMk/>
            <pc:sldMk cId="810637578" sldId="263"/>
            <ac:cxnSpMk id="95" creationId="{C40A7E7C-11AB-C81F-6367-973329D1CD4E}"/>
          </ac:cxnSpMkLst>
        </pc:cxnChg>
        <pc:cxnChg chg="add del mod">
          <ac:chgData name="Yijun Wang" userId="Of/0Pj+qBr5fypY8jeq4N4QA/9LywGn1V9GniuUBQzk=" providerId="None" clId="Web-{24EB2D9E-C759-4845-9537-66EAEF81FB16}" dt="2025-03-06T18:49:15.942" v="340"/>
          <ac:cxnSpMkLst>
            <pc:docMk/>
            <pc:sldMk cId="810637578" sldId="263"/>
            <ac:cxnSpMk id="96" creationId="{89D82224-AB94-2E1C-7AF1-73C60D8D83CE}"/>
          </ac:cxnSpMkLst>
        </pc:cxnChg>
        <pc:cxnChg chg="add del mod">
          <ac:chgData name="Yijun Wang" userId="Of/0Pj+qBr5fypY8jeq4N4QA/9LywGn1V9GniuUBQzk=" providerId="None" clId="Web-{24EB2D9E-C759-4845-9537-66EAEF81FB16}" dt="2025-03-06T18:49:15.036" v="339"/>
          <ac:cxnSpMkLst>
            <pc:docMk/>
            <pc:sldMk cId="810637578" sldId="263"/>
            <ac:cxnSpMk id="97" creationId="{B132DAB8-E90E-96F1-F537-402C4F52B9D3}"/>
          </ac:cxnSpMkLst>
        </pc:cxnChg>
        <pc:cxnChg chg="add mod">
          <ac:chgData name="Yijun Wang" userId="Of/0Pj+qBr5fypY8jeq4N4QA/9LywGn1V9GniuUBQzk=" providerId="None" clId="Web-{24EB2D9E-C759-4845-9537-66EAEF81FB16}" dt="2025-03-06T19:40:29.580" v="1274" actId="1076"/>
          <ac:cxnSpMkLst>
            <pc:docMk/>
            <pc:sldMk cId="810637578" sldId="263"/>
            <ac:cxnSpMk id="98" creationId="{84687139-8338-8890-0A7C-BF281FAECBCF}"/>
          </ac:cxnSpMkLst>
        </pc:cxnChg>
        <pc:cxnChg chg="add mod">
          <ac:chgData name="Yijun Wang" userId="Of/0Pj+qBr5fypY8jeq4N4QA/9LywGn1V9GniuUBQzk=" providerId="None" clId="Web-{24EB2D9E-C759-4845-9537-66EAEF81FB16}" dt="2025-03-06T19:40:29.736" v="1275" actId="1076"/>
          <ac:cxnSpMkLst>
            <pc:docMk/>
            <pc:sldMk cId="810637578" sldId="263"/>
            <ac:cxnSpMk id="99" creationId="{9D33DE9D-6226-383D-D2D7-167A3098C3F1}"/>
          </ac:cxnSpMkLst>
        </pc:cxnChg>
        <pc:cxnChg chg="mod ord">
          <ac:chgData name="Yijun Wang" userId="Of/0Pj+qBr5fypY8jeq4N4QA/9LywGn1V9GniuUBQzk=" providerId="None" clId="Web-{24EB2D9E-C759-4845-9537-66EAEF81FB16}" dt="2025-03-06T19:39:06.376" v="1197" actId="1076"/>
          <ac:cxnSpMkLst>
            <pc:docMk/>
            <pc:sldMk cId="810637578" sldId="263"/>
            <ac:cxnSpMk id="112" creationId="{F04EE867-59A4-2182-DEA3-36A1EA703473}"/>
          </ac:cxnSpMkLst>
        </pc:cxnChg>
        <pc:cxnChg chg="add del mod">
          <ac:chgData name="Yijun Wang" userId="Of/0Pj+qBr5fypY8jeq4N4QA/9LywGn1V9GniuUBQzk=" providerId="None" clId="Web-{24EB2D9E-C759-4845-9537-66EAEF81FB16}" dt="2025-03-06T18:22:06.709" v="36"/>
          <ac:cxnSpMkLst>
            <pc:docMk/>
            <pc:sldMk cId="810637578" sldId="263"/>
            <ac:cxnSpMk id="113" creationId="{5E5A2571-1F5E-25CE-F944-00E136C2851E}"/>
          </ac:cxnSpMkLst>
        </pc:cxnChg>
        <pc:cxnChg chg="mod ord">
          <ac:chgData name="Yijun Wang" userId="Of/0Pj+qBr5fypY8jeq4N4QA/9LywGn1V9GniuUBQzk=" providerId="None" clId="Web-{24EB2D9E-C759-4845-9537-66EAEF81FB16}" dt="2025-03-06T19:39:06.532" v="1198" actId="1076"/>
          <ac:cxnSpMkLst>
            <pc:docMk/>
            <pc:sldMk cId="810637578" sldId="263"/>
            <ac:cxnSpMk id="114" creationId="{DD5F55B4-B28C-7265-C7EA-362D5B1ECF3C}"/>
          </ac:cxnSpMkLst>
        </pc:cxnChg>
        <pc:cxnChg chg="mod ord">
          <ac:chgData name="Yijun Wang" userId="Of/0Pj+qBr5fypY8jeq4N4QA/9LywGn1V9GniuUBQzk=" providerId="None" clId="Web-{24EB2D9E-C759-4845-9537-66EAEF81FB16}" dt="2025-03-06T19:40:25.830" v="1255" actId="1076"/>
          <ac:cxnSpMkLst>
            <pc:docMk/>
            <pc:sldMk cId="810637578" sldId="263"/>
            <ac:cxnSpMk id="122" creationId="{092A37AD-D2B2-A27C-0407-1E96893A3521}"/>
          </ac:cxnSpMkLst>
        </pc:cxnChg>
        <pc:cxnChg chg="mod">
          <ac:chgData name="Yijun Wang" userId="Of/0Pj+qBr5fypY8jeq4N4QA/9LywGn1V9GniuUBQzk=" providerId="None" clId="Web-{24EB2D9E-C759-4845-9537-66EAEF81FB16}" dt="2025-03-06T19:40:26.033" v="1256" actId="1076"/>
          <ac:cxnSpMkLst>
            <pc:docMk/>
            <pc:sldMk cId="810637578" sldId="263"/>
            <ac:cxnSpMk id="123" creationId="{36FC00C8-59F4-ACB4-763C-5DAF0D65617A}"/>
          </ac:cxnSpMkLst>
        </pc:cxnChg>
        <pc:cxnChg chg="mod">
          <ac:chgData name="Yijun Wang" userId="Of/0Pj+qBr5fypY8jeq4N4QA/9LywGn1V9GniuUBQzk=" providerId="None" clId="Web-{24EB2D9E-C759-4845-9537-66EAEF81FB16}" dt="2025-03-06T19:40:26.267" v="1257" actId="1076"/>
          <ac:cxnSpMkLst>
            <pc:docMk/>
            <pc:sldMk cId="810637578" sldId="263"/>
            <ac:cxnSpMk id="124" creationId="{D5B52A4D-3C69-3AC1-3890-F25949BA3115}"/>
          </ac:cxnSpMkLst>
        </pc:cxnChg>
        <pc:cxnChg chg="del mod">
          <ac:chgData name="Yijun Wang" userId="Of/0Pj+qBr5fypY8jeq4N4QA/9LywGn1V9GniuUBQzk=" providerId="None" clId="Web-{24EB2D9E-C759-4845-9537-66EAEF81FB16}" dt="2025-03-06T19:20:06.428" v="791"/>
          <ac:cxnSpMkLst>
            <pc:docMk/>
            <pc:sldMk cId="810637578" sldId="263"/>
            <ac:cxnSpMk id="125" creationId="{6657D9BB-77A0-9EC1-6C97-7887620B6319}"/>
          </ac:cxnSpMkLst>
        </pc:cxnChg>
        <pc:cxnChg chg="del mod">
          <ac:chgData name="Yijun Wang" userId="Of/0Pj+qBr5fypY8jeq4N4QA/9LywGn1V9GniuUBQzk=" providerId="None" clId="Web-{24EB2D9E-C759-4845-9537-66EAEF81FB16}" dt="2025-03-06T19:18:26.693" v="775"/>
          <ac:cxnSpMkLst>
            <pc:docMk/>
            <pc:sldMk cId="810637578" sldId="263"/>
            <ac:cxnSpMk id="126" creationId="{0128F74C-6693-A08E-9012-744AC98B0552}"/>
          </ac:cxnSpMkLst>
        </pc:cxnChg>
        <pc:cxnChg chg="del mod">
          <ac:chgData name="Yijun Wang" userId="Of/0Pj+qBr5fypY8jeq4N4QA/9LywGn1V9GniuUBQzk=" providerId="None" clId="Web-{24EB2D9E-C759-4845-9537-66EAEF81FB16}" dt="2025-03-06T19:20:26.819" v="794"/>
          <ac:cxnSpMkLst>
            <pc:docMk/>
            <pc:sldMk cId="810637578" sldId="263"/>
            <ac:cxnSpMk id="127" creationId="{12F8D7B1-E073-670F-B999-75316A7918DA}"/>
          </ac:cxnSpMkLst>
        </pc:cxnChg>
        <pc:cxnChg chg="del mod">
          <ac:chgData name="Yijun Wang" userId="Of/0Pj+qBr5fypY8jeq4N4QA/9LywGn1V9GniuUBQzk=" providerId="None" clId="Web-{24EB2D9E-C759-4845-9537-66EAEF81FB16}" dt="2025-03-06T19:17:41.911" v="762"/>
          <ac:cxnSpMkLst>
            <pc:docMk/>
            <pc:sldMk cId="810637578" sldId="263"/>
            <ac:cxnSpMk id="128" creationId="{7A869B25-CDA9-DC13-702B-3A8FEFD88CB7}"/>
          </ac:cxnSpMkLst>
        </pc:cxnChg>
      </pc:sldChg>
      <pc:sldChg chg="add del replId">
        <pc:chgData name="Yijun Wang" userId="Of/0Pj+qBr5fypY8jeq4N4QA/9LywGn1V9GniuUBQzk=" providerId="None" clId="Web-{24EB2D9E-C759-4845-9537-66EAEF81FB16}" dt="2025-03-06T19:24:12.977" v="824"/>
        <pc:sldMkLst>
          <pc:docMk/>
          <pc:sldMk cId="1833930589" sldId="265"/>
        </pc:sldMkLst>
      </pc:sldChg>
    </pc:docChg>
  </pc:docChgLst>
  <pc:docChgLst>
    <pc:chgData name="Shih Min Lin" userId="EZMguJyP4QRPSMfRfjN+Y1sL5Ac+4RMpWotTWDpLLe0=" providerId="None" clId="Web-{928EF9A1-FAF1-49EF-9EF9-CAA88CBF3F72}"/>
    <pc:docChg chg="modSld">
      <pc:chgData name="Shih Min Lin" userId="EZMguJyP4QRPSMfRfjN+Y1sL5Ac+4RMpWotTWDpLLe0=" providerId="None" clId="Web-{928EF9A1-FAF1-49EF-9EF9-CAA88CBF3F72}" dt="2025-03-06T16:55:01.016" v="98" actId="20577"/>
      <pc:docMkLst>
        <pc:docMk/>
      </pc:docMkLst>
      <pc:sldChg chg="modSp">
        <pc:chgData name="Shih Min Lin" userId="EZMguJyP4QRPSMfRfjN+Y1sL5Ac+4RMpWotTWDpLLe0=" providerId="None" clId="Web-{928EF9A1-FAF1-49EF-9EF9-CAA88CBF3F72}" dt="2025-03-06T16:55:01.016" v="98" actId="20577"/>
        <pc:sldMkLst>
          <pc:docMk/>
          <pc:sldMk cId="810637578" sldId="263"/>
        </pc:sldMkLst>
        <pc:spChg chg="mod">
          <ac:chgData name="Shih Min Lin" userId="EZMguJyP4QRPSMfRfjN+Y1sL5Ac+4RMpWotTWDpLLe0=" providerId="None" clId="Web-{928EF9A1-FAF1-49EF-9EF9-CAA88CBF3F72}" dt="2025-03-06T16:55:01.016" v="98" actId="20577"/>
          <ac:spMkLst>
            <pc:docMk/>
            <pc:sldMk cId="810637578" sldId="263"/>
            <ac:spMk id="105" creationId="{F3F38A43-0A4B-88AD-6539-02458E1CB45C}"/>
          </ac:spMkLst>
        </pc:spChg>
      </pc:sldChg>
    </pc:docChg>
  </pc:docChgLst>
  <pc:docChgLst>
    <pc:chgData name="Yao Liu" userId="De98wOxqXTFY8++esdgi1+Besv75b2e3DCsfKbqDwqA=" providerId="None" clId="Web-{A8506CD9-C27F-4359-8D33-7D5AC063ADD5}"/>
    <pc:docChg chg="modSld">
      <pc:chgData name="Yao Liu" userId="De98wOxqXTFY8++esdgi1+Besv75b2e3DCsfKbqDwqA=" providerId="None" clId="Web-{A8506CD9-C27F-4359-8D33-7D5AC063ADD5}" dt="2025-03-30T22:01:12.892" v="11"/>
      <pc:docMkLst>
        <pc:docMk/>
      </pc:docMkLst>
      <pc:sldChg chg="addSp delSp modSp">
        <pc:chgData name="Yao Liu" userId="De98wOxqXTFY8++esdgi1+Besv75b2e3DCsfKbqDwqA=" providerId="None" clId="Web-{A8506CD9-C27F-4359-8D33-7D5AC063ADD5}" dt="2025-03-30T22:01:12.892" v="11"/>
        <pc:sldMkLst>
          <pc:docMk/>
          <pc:sldMk cId="810637578" sldId="263"/>
        </pc:sldMkLst>
        <pc:picChg chg="add del mod">
          <ac:chgData name="Yao Liu" userId="De98wOxqXTFY8++esdgi1+Besv75b2e3DCsfKbqDwqA=" providerId="None" clId="Web-{A8506CD9-C27F-4359-8D33-7D5AC063ADD5}" dt="2025-03-30T22:00:58.673" v="5"/>
          <ac:picMkLst>
            <pc:docMk/>
            <pc:sldMk cId="810637578" sldId="263"/>
            <ac:picMk id="71" creationId="{039905CE-7785-5048-5EF7-66FEEF0162CF}"/>
          </ac:picMkLst>
        </pc:picChg>
        <pc:picChg chg="add del mod">
          <ac:chgData name="Yao Liu" userId="De98wOxqXTFY8++esdgi1+Besv75b2e3DCsfKbqDwqA=" providerId="None" clId="Web-{A8506CD9-C27F-4359-8D33-7D5AC063ADD5}" dt="2025-03-30T22:00:58.673" v="4"/>
          <ac:picMkLst>
            <pc:docMk/>
            <pc:sldMk cId="810637578" sldId="263"/>
            <ac:picMk id="126" creationId="{80F507AC-AFBE-0416-8441-FFBF8A659AEE}"/>
          </ac:picMkLst>
        </pc:picChg>
        <pc:picChg chg="add del mod">
          <ac:chgData name="Yao Liu" userId="De98wOxqXTFY8++esdgi1+Besv75b2e3DCsfKbqDwqA=" providerId="None" clId="Web-{A8506CD9-C27F-4359-8D33-7D5AC063ADD5}" dt="2025-03-30T22:01:12.892" v="11"/>
          <ac:picMkLst>
            <pc:docMk/>
            <pc:sldMk cId="810637578" sldId="263"/>
            <ac:picMk id="137" creationId="{C14BA334-48B6-BAFC-801E-864703AAE4B1}"/>
          </ac:picMkLst>
        </pc:picChg>
        <pc:picChg chg="add del mod">
          <ac:chgData name="Yao Liu" userId="De98wOxqXTFY8++esdgi1+Besv75b2e3DCsfKbqDwqA=" providerId="None" clId="Web-{A8506CD9-C27F-4359-8D33-7D5AC063ADD5}" dt="2025-03-30T22:01:12.892" v="10"/>
          <ac:picMkLst>
            <pc:docMk/>
            <pc:sldMk cId="810637578" sldId="263"/>
            <ac:picMk id="139" creationId="{D81CBF8F-3FA1-3289-0461-35520470A8BD}"/>
          </ac:picMkLst>
        </pc:picChg>
      </pc:sldChg>
    </pc:docChg>
  </pc:docChgLst>
  <pc:docChgLst>
    <pc:chgData name="Ananth Mohan" userId="0+ntHPCRoNBLvPdhBUzfljBEc8fje1ZhpS6eiRuEUeE=" providerId="None" clId="Web-{CF8CAACE-4D71-4B4F-94AD-8EEA6A76B4DC}"/>
    <pc:docChg chg="delSld modSld sldOrd">
      <pc:chgData name="Ananth Mohan" userId="0+ntHPCRoNBLvPdhBUzfljBEc8fje1ZhpS6eiRuEUeE=" providerId="None" clId="Web-{CF8CAACE-4D71-4B4F-94AD-8EEA6A76B4DC}" dt="2025-04-11T01:19:08.030" v="40" actId="1076"/>
      <pc:docMkLst>
        <pc:docMk/>
      </pc:docMkLst>
      <pc:sldChg chg="del">
        <pc:chgData name="Ananth Mohan" userId="0+ntHPCRoNBLvPdhBUzfljBEc8fje1ZhpS6eiRuEUeE=" providerId="None" clId="Web-{CF8CAACE-4D71-4B4F-94AD-8EEA6A76B4DC}" dt="2025-04-11T01:15:16.133" v="4"/>
        <pc:sldMkLst>
          <pc:docMk/>
          <pc:sldMk cId="1501710035" sldId="257"/>
        </pc:sldMkLst>
      </pc:sldChg>
      <pc:sldChg chg="del">
        <pc:chgData name="Ananth Mohan" userId="0+ntHPCRoNBLvPdhBUzfljBEc8fje1ZhpS6eiRuEUeE=" providerId="None" clId="Web-{CF8CAACE-4D71-4B4F-94AD-8EEA6A76B4DC}" dt="2025-04-11T01:15:16.148" v="5"/>
        <pc:sldMkLst>
          <pc:docMk/>
          <pc:sldMk cId="3360724782" sldId="258"/>
        </pc:sldMkLst>
      </pc:sldChg>
      <pc:sldChg chg="del">
        <pc:chgData name="Ananth Mohan" userId="0+ntHPCRoNBLvPdhBUzfljBEc8fje1ZhpS6eiRuEUeE=" providerId="None" clId="Web-{CF8CAACE-4D71-4B4F-94AD-8EEA6A76B4DC}" dt="2025-04-11T01:15:16.101" v="3"/>
        <pc:sldMkLst>
          <pc:docMk/>
          <pc:sldMk cId="4227152733" sldId="259"/>
        </pc:sldMkLst>
      </pc:sldChg>
      <pc:sldChg chg="del">
        <pc:chgData name="Ananth Mohan" userId="0+ntHPCRoNBLvPdhBUzfljBEc8fje1ZhpS6eiRuEUeE=" providerId="None" clId="Web-{CF8CAACE-4D71-4B4F-94AD-8EEA6A76B4DC}" dt="2025-04-11T01:15:16.070" v="2"/>
        <pc:sldMkLst>
          <pc:docMk/>
          <pc:sldMk cId="2899114051" sldId="260"/>
        </pc:sldMkLst>
      </pc:sldChg>
      <pc:sldChg chg="del">
        <pc:chgData name="Ananth Mohan" userId="0+ntHPCRoNBLvPdhBUzfljBEc8fje1ZhpS6eiRuEUeE=" providerId="None" clId="Web-{CF8CAACE-4D71-4B4F-94AD-8EEA6A76B4DC}" dt="2025-04-11T01:15:16.055" v="1"/>
        <pc:sldMkLst>
          <pc:docMk/>
          <pc:sldMk cId="1588936064" sldId="261"/>
        </pc:sldMkLst>
      </pc:sldChg>
      <pc:sldChg chg="del">
        <pc:chgData name="Ananth Mohan" userId="0+ntHPCRoNBLvPdhBUzfljBEc8fje1ZhpS6eiRuEUeE=" providerId="None" clId="Web-{CF8CAACE-4D71-4B4F-94AD-8EEA6A76B4DC}" dt="2025-04-11T01:15:16.039" v="0"/>
        <pc:sldMkLst>
          <pc:docMk/>
          <pc:sldMk cId="4096158020" sldId="262"/>
        </pc:sldMkLst>
      </pc:sldChg>
      <pc:sldChg chg="del">
        <pc:chgData name="Ananth Mohan" userId="0+ntHPCRoNBLvPdhBUzfljBEc8fje1ZhpS6eiRuEUeE=" providerId="None" clId="Web-{CF8CAACE-4D71-4B4F-94AD-8EEA6A76B4DC}" dt="2025-04-11T01:15:16.148" v="6"/>
        <pc:sldMkLst>
          <pc:docMk/>
          <pc:sldMk cId="2410257369" sldId="264"/>
        </pc:sldMkLst>
      </pc:sldChg>
      <pc:sldChg chg="modSp ord">
        <pc:chgData name="Ananth Mohan" userId="0+ntHPCRoNBLvPdhBUzfljBEc8fje1ZhpS6eiRuEUeE=" providerId="None" clId="Web-{CF8CAACE-4D71-4B4F-94AD-8EEA6A76B4DC}" dt="2025-04-11T01:19:08.030" v="40" actId="1076"/>
        <pc:sldMkLst>
          <pc:docMk/>
          <pc:sldMk cId="3303383250" sldId="265"/>
        </pc:sldMkLst>
        <pc:spChg chg="mod">
          <ac:chgData name="Ananth Mohan" userId="0+ntHPCRoNBLvPdhBUzfljBEc8fje1ZhpS6eiRuEUeE=" providerId="None" clId="Web-{CF8CAACE-4D71-4B4F-94AD-8EEA6A76B4DC}" dt="2025-04-11T01:19:08.030" v="38" actId="1076"/>
          <ac:spMkLst>
            <pc:docMk/>
            <pc:sldMk cId="3303383250" sldId="265"/>
            <ac:spMk id="35" creationId="{B546E8FC-F0B0-2805-E88B-0730ED0C07B0}"/>
          </ac:spMkLst>
        </pc:spChg>
        <pc:spChg chg="mod">
          <ac:chgData name="Ananth Mohan" userId="0+ntHPCRoNBLvPdhBUzfljBEc8fje1ZhpS6eiRuEUeE=" providerId="None" clId="Web-{CF8CAACE-4D71-4B4F-94AD-8EEA6A76B4DC}" dt="2025-04-11T01:17:32.808" v="25" actId="14100"/>
          <ac:spMkLst>
            <pc:docMk/>
            <pc:sldMk cId="3303383250" sldId="265"/>
            <ac:spMk id="36" creationId="{8D196CCE-88E4-E9E0-6C1E-370B829EA2E9}"/>
          </ac:spMkLst>
        </pc:spChg>
        <pc:spChg chg="mod">
          <ac:chgData name="Ananth Mohan" userId="0+ntHPCRoNBLvPdhBUzfljBEc8fje1ZhpS6eiRuEUeE=" providerId="None" clId="Web-{CF8CAACE-4D71-4B4F-94AD-8EEA6A76B4DC}" dt="2025-04-11T01:16:15.416" v="11" actId="1076"/>
          <ac:spMkLst>
            <pc:docMk/>
            <pc:sldMk cId="3303383250" sldId="265"/>
            <ac:spMk id="60" creationId="{776440A9-87FF-50D3-A3DE-444E1914ADFC}"/>
          </ac:spMkLst>
        </pc:spChg>
        <pc:spChg chg="mod">
          <ac:chgData name="Ananth Mohan" userId="0+ntHPCRoNBLvPdhBUzfljBEc8fje1ZhpS6eiRuEUeE=" providerId="None" clId="Web-{CF8CAACE-4D71-4B4F-94AD-8EEA6A76B4DC}" dt="2025-04-11T01:16:15.697" v="12" actId="1076"/>
          <ac:spMkLst>
            <pc:docMk/>
            <pc:sldMk cId="3303383250" sldId="265"/>
            <ac:spMk id="69" creationId="{603A9031-A18D-9D2D-7053-23C0F9C95D9B}"/>
          </ac:spMkLst>
        </pc:spChg>
        <pc:spChg chg="mod">
          <ac:chgData name="Ananth Mohan" userId="0+ntHPCRoNBLvPdhBUzfljBEc8fje1ZhpS6eiRuEUeE=" providerId="None" clId="Web-{CF8CAACE-4D71-4B4F-94AD-8EEA6A76B4DC}" dt="2025-04-11T01:16:02.947" v="8" actId="1076"/>
          <ac:spMkLst>
            <pc:docMk/>
            <pc:sldMk cId="3303383250" sldId="265"/>
            <ac:spMk id="72" creationId="{9807FF68-40AD-6D7D-73D6-693F025B4E5B}"/>
          </ac:spMkLst>
        </pc:spChg>
        <pc:spChg chg="mod">
          <ac:chgData name="Ananth Mohan" userId="0+ntHPCRoNBLvPdhBUzfljBEc8fje1ZhpS6eiRuEUeE=" providerId="None" clId="Web-{CF8CAACE-4D71-4B4F-94AD-8EEA6A76B4DC}" dt="2025-04-11T01:16:03.181" v="9" actId="1076"/>
          <ac:spMkLst>
            <pc:docMk/>
            <pc:sldMk cId="3303383250" sldId="265"/>
            <ac:spMk id="73" creationId="{FF6079B3-6092-12BE-4D31-2ED0069C0622}"/>
          </ac:spMkLst>
        </pc:spChg>
        <pc:spChg chg="mod">
          <ac:chgData name="Ananth Mohan" userId="0+ntHPCRoNBLvPdhBUzfljBEc8fje1ZhpS6eiRuEUeE=" providerId="None" clId="Web-{CF8CAACE-4D71-4B4F-94AD-8EEA6A76B4DC}" dt="2025-04-11T01:17:03.667" v="22" actId="1076"/>
          <ac:spMkLst>
            <pc:docMk/>
            <pc:sldMk cId="3303383250" sldId="265"/>
            <ac:spMk id="75" creationId="{806B0FF3-6F00-13CA-925F-02A4AE7301D0}"/>
          </ac:spMkLst>
        </pc:spChg>
        <pc:spChg chg="mod">
          <ac:chgData name="Ananth Mohan" userId="0+ntHPCRoNBLvPdhBUzfljBEc8fje1ZhpS6eiRuEUeE=" providerId="None" clId="Web-{CF8CAACE-4D71-4B4F-94AD-8EEA6A76B4DC}" dt="2025-04-11T01:18:05.591" v="32" actId="1076"/>
          <ac:spMkLst>
            <pc:docMk/>
            <pc:sldMk cId="3303383250" sldId="265"/>
            <ac:spMk id="77" creationId="{C213C033-83DF-1C28-DEC8-79E659151B90}"/>
          </ac:spMkLst>
        </pc:spChg>
        <pc:spChg chg="mod">
          <ac:chgData name="Ananth Mohan" userId="0+ntHPCRoNBLvPdhBUzfljBEc8fje1ZhpS6eiRuEUeE=" providerId="None" clId="Web-{CF8CAACE-4D71-4B4F-94AD-8EEA6A76B4DC}" dt="2025-04-11T01:16:15.197" v="10" actId="1076"/>
          <ac:spMkLst>
            <pc:docMk/>
            <pc:sldMk cId="3303383250" sldId="265"/>
            <ac:spMk id="100" creationId="{E87BD74B-20AB-5DEA-C74D-055E8B1DC87F}"/>
          </ac:spMkLst>
        </pc:spChg>
        <pc:spChg chg="mod">
          <ac:chgData name="Ananth Mohan" userId="0+ntHPCRoNBLvPdhBUzfljBEc8fje1ZhpS6eiRuEUeE=" providerId="None" clId="Web-{CF8CAACE-4D71-4B4F-94AD-8EEA6A76B4DC}" dt="2025-04-11T01:19:08.030" v="40" actId="1076"/>
          <ac:spMkLst>
            <pc:docMk/>
            <pc:sldMk cId="3303383250" sldId="265"/>
            <ac:spMk id="105" creationId="{0007B696-4C2F-9E22-5840-DAAFCF52E1AB}"/>
          </ac:spMkLst>
        </pc:spChg>
        <pc:spChg chg="mod">
          <ac:chgData name="Ananth Mohan" userId="0+ntHPCRoNBLvPdhBUzfljBEc8fje1ZhpS6eiRuEUeE=" providerId="None" clId="Web-{CF8CAACE-4D71-4B4F-94AD-8EEA6A76B4DC}" dt="2025-04-11T01:17:58.497" v="31" actId="1076"/>
          <ac:spMkLst>
            <pc:docMk/>
            <pc:sldMk cId="3303383250" sldId="265"/>
            <ac:spMk id="106" creationId="{7355FA1E-67D7-3AF3-D14B-924F4BAEF7D2}"/>
          </ac:spMkLst>
        </pc:spChg>
        <pc:spChg chg="mod">
          <ac:chgData name="Ananth Mohan" userId="0+ntHPCRoNBLvPdhBUzfljBEc8fje1ZhpS6eiRuEUeE=" providerId="None" clId="Web-{CF8CAACE-4D71-4B4F-94AD-8EEA6A76B4DC}" dt="2025-04-11T01:19:08.030" v="39" actId="1076"/>
          <ac:spMkLst>
            <pc:docMk/>
            <pc:sldMk cId="3303383250" sldId="265"/>
            <ac:spMk id="107" creationId="{C70B0DD6-236C-86BF-81BF-8FD065B68AA0}"/>
          </ac:spMkLst>
        </pc:spChg>
        <pc:picChg chg="mod">
          <ac:chgData name="Ananth Mohan" userId="0+ntHPCRoNBLvPdhBUzfljBEc8fje1ZhpS6eiRuEUeE=" providerId="None" clId="Web-{CF8CAACE-4D71-4B4F-94AD-8EEA6A76B4DC}" dt="2025-04-11T01:17:43.778" v="30" actId="1076"/>
          <ac:picMkLst>
            <pc:docMk/>
            <pc:sldMk cId="3303383250" sldId="265"/>
            <ac:picMk id="3" creationId="{68A90817-9D83-A6B6-D4FA-5C9EDE038735}"/>
          </ac:picMkLst>
        </pc:picChg>
        <pc:picChg chg="mod">
          <ac:chgData name="Ananth Mohan" userId="0+ntHPCRoNBLvPdhBUzfljBEc8fje1ZhpS6eiRuEUeE=" providerId="None" clId="Web-{CF8CAACE-4D71-4B4F-94AD-8EEA6A76B4DC}" dt="2025-04-11T01:17:42.871" v="26" actId="1076"/>
          <ac:picMkLst>
            <pc:docMk/>
            <pc:sldMk cId="3303383250" sldId="265"/>
            <ac:picMk id="6" creationId="{429D241D-00A4-D931-4100-2A691B520861}"/>
          </ac:picMkLst>
        </pc:picChg>
        <pc:picChg chg="mod">
          <ac:chgData name="Ananth Mohan" userId="0+ntHPCRoNBLvPdhBUzfljBEc8fje1ZhpS6eiRuEUeE=" providerId="None" clId="Web-{CF8CAACE-4D71-4B4F-94AD-8EEA6A76B4DC}" dt="2025-04-11T01:17:43.090" v="27" actId="1076"/>
          <ac:picMkLst>
            <pc:docMk/>
            <pc:sldMk cId="3303383250" sldId="265"/>
            <ac:picMk id="19" creationId="{73BE328D-0DD5-1C51-50E2-279F4CEF8C2E}"/>
          </ac:picMkLst>
        </pc:picChg>
        <pc:picChg chg="mod">
          <ac:chgData name="Ananth Mohan" userId="0+ntHPCRoNBLvPdhBUzfljBEc8fje1ZhpS6eiRuEUeE=" providerId="None" clId="Web-{CF8CAACE-4D71-4B4F-94AD-8EEA6A76B4DC}" dt="2025-04-11T01:17:43.324" v="28" actId="1076"/>
          <ac:picMkLst>
            <pc:docMk/>
            <pc:sldMk cId="3303383250" sldId="265"/>
            <ac:picMk id="20" creationId="{EFDEF58B-2F14-653C-EBBD-E3D5CEDFA33B}"/>
          </ac:picMkLst>
        </pc:picChg>
        <pc:picChg chg="mod">
          <ac:chgData name="Ananth Mohan" userId="0+ntHPCRoNBLvPdhBUzfljBEc8fje1ZhpS6eiRuEUeE=" providerId="None" clId="Web-{CF8CAACE-4D71-4B4F-94AD-8EEA6A76B4DC}" dt="2025-04-11T01:17:43.559" v="29" actId="1076"/>
          <ac:picMkLst>
            <pc:docMk/>
            <pc:sldMk cId="3303383250" sldId="265"/>
            <ac:picMk id="21" creationId="{8040DEF8-8246-B483-12D7-5D85A68BF228}"/>
          </ac:picMkLst>
        </pc:picChg>
        <pc:cxnChg chg="mod">
          <ac:chgData name="Ananth Mohan" userId="0+ntHPCRoNBLvPdhBUzfljBEc8fje1ZhpS6eiRuEUeE=" providerId="None" clId="Web-{CF8CAACE-4D71-4B4F-94AD-8EEA6A76B4DC}" dt="2025-04-11T01:18:41.576" v="34" actId="1076"/>
          <ac:cxnSpMkLst>
            <pc:docMk/>
            <pc:sldMk cId="3303383250" sldId="265"/>
            <ac:cxnSpMk id="56" creationId="{4E2F651D-ED6F-8468-4BBE-3AB56883ACCA}"/>
          </ac:cxnSpMkLst>
        </pc:cxnChg>
      </pc:sldChg>
    </pc:docChg>
  </pc:docChgLst>
  <pc:docChgLst>
    <pc:chgData name="Farha Shireen" userId="K9hHn9oINz5vZ9EtNhWdkbocU8fYfQRPeYvfmnVYJ7Q=" providerId="None" clId="Web-{C8ED3372-40EF-477A-8637-78B4DDAA4977}"/>
    <pc:docChg chg="modSld">
      <pc:chgData name="Farha Shireen" userId="K9hHn9oINz5vZ9EtNhWdkbocU8fYfQRPeYvfmnVYJ7Q=" providerId="None" clId="Web-{C8ED3372-40EF-477A-8637-78B4DDAA4977}" dt="2025-03-06T17:14:09.821" v="9" actId="20577"/>
      <pc:docMkLst>
        <pc:docMk/>
      </pc:docMkLst>
      <pc:sldChg chg="modSp">
        <pc:chgData name="Farha Shireen" userId="K9hHn9oINz5vZ9EtNhWdkbocU8fYfQRPeYvfmnVYJ7Q=" providerId="None" clId="Web-{C8ED3372-40EF-477A-8637-78B4DDAA4977}" dt="2025-03-06T17:14:09.821" v="9" actId="20577"/>
        <pc:sldMkLst>
          <pc:docMk/>
          <pc:sldMk cId="810637578" sldId="263"/>
        </pc:sldMkLst>
        <pc:spChg chg="mod">
          <ac:chgData name="Farha Shireen" userId="K9hHn9oINz5vZ9EtNhWdkbocU8fYfQRPeYvfmnVYJ7Q=" providerId="None" clId="Web-{C8ED3372-40EF-477A-8637-78B4DDAA4977}" dt="2025-03-06T17:14:09.821" v="9" actId="20577"/>
          <ac:spMkLst>
            <pc:docMk/>
            <pc:sldMk cId="810637578" sldId="263"/>
            <ac:spMk id="2" creationId="{32CC5A80-0450-772D-9231-C5665C60D606}"/>
          </ac:spMkLst>
        </pc:spChg>
      </pc:sldChg>
    </pc:docChg>
  </pc:docChgLst>
  <pc:docChgLst>
    <pc:chgData name="Tanvir Ahmed Farook" userId="TCYBb3uSJ+bdHYXHvL8inqj6VAMXLD9G89AUjqTPq2w=" providerId="None" clId="Web-{79CCC180-8F61-4054-9FCE-84E229A8EE06}"/>
    <pc:docChg chg="mod">
      <pc:chgData name="Tanvir Ahmed Farook" userId="TCYBb3uSJ+bdHYXHvL8inqj6VAMXLD9G89AUjqTPq2w=" providerId="None" clId="Web-{79CCC180-8F61-4054-9FCE-84E229A8EE06}" dt="2025-03-06T17:22:41.330" v="0"/>
      <pc:docMkLst>
        <pc:docMk/>
      </pc:docMkLst>
    </pc:docChg>
  </pc:docChgLst>
  <pc:docChgLst>
    <pc:chgData name="Yao Liu" userId="De98wOxqXTFY8++esdgi1+Besv75b2e3DCsfKbqDwqA=" providerId="None" clId="Web-{62ED77C7-1492-45F2-87CD-5426A2053E12}"/>
    <pc:docChg chg="modSld">
      <pc:chgData name="Yao Liu" userId="De98wOxqXTFY8++esdgi1+Besv75b2e3DCsfKbqDwqA=" providerId="None" clId="Web-{62ED77C7-1492-45F2-87CD-5426A2053E12}" dt="2025-03-30T01:42:17.316" v="18" actId="1076"/>
      <pc:docMkLst>
        <pc:docMk/>
      </pc:docMkLst>
      <pc:sldChg chg="addSp delSp modSp">
        <pc:chgData name="Yao Liu" userId="De98wOxqXTFY8++esdgi1+Besv75b2e3DCsfKbqDwqA=" providerId="None" clId="Web-{62ED77C7-1492-45F2-87CD-5426A2053E12}" dt="2025-03-30T01:42:17.316" v="18" actId="1076"/>
        <pc:sldMkLst>
          <pc:docMk/>
          <pc:sldMk cId="810637578" sldId="263"/>
        </pc:sldMkLst>
        <pc:picChg chg="add del mod">
          <ac:chgData name="Yao Liu" userId="De98wOxqXTFY8++esdgi1+Besv75b2e3DCsfKbqDwqA=" providerId="None" clId="Web-{62ED77C7-1492-45F2-87CD-5426A2053E12}" dt="2025-03-30T01:41:28.377" v="6"/>
          <ac:picMkLst>
            <pc:docMk/>
            <pc:sldMk cId="810637578" sldId="263"/>
            <ac:picMk id="40" creationId="{240002A0-EEDA-5F21-25F2-A952E99E27E7}"/>
          </ac:picMkLst>
        </pc:picChg>
        <pc:picChg chg="add mod">
          <ac:chgData name="Yao Liu" userId="De98wOxqXTFY8++esdgi1+Besv75b2e3DCsfKbqDwqA=" providerId="None" clId="Web-{62ED77C7-1492-45F2-87CD-5426A2053E12}" dt="2025-03-30T01:42:17.316" v="18" actId="1076"/>
          <ac:picMkLst>
            <pc:docMk/>
            <pc:sldMk cId="810637578" sldId="263"/>
            <ac:picMk id="41" creationId="{F4FCF19C-9BFE-E50C-9D25-A28E4C766039}"/>
          </ac:picMkLst>
        </pc:picChg>
      </pc:sldChg>
    </pc:docChg>
  </pc:docChgLst>
  <pc:docChgLst>
    <pc:chgData name="Tanvir Ahmed Farook" userId="TCYBb3uSJ+bdHYXHvL8inqj6VAMXLD9G89AUjqTPq2w=" providerId="None" clId="Web-{5D93AA09-BCA1-4D0A-8018-4842CA211D93}"/>
    <pc:docChg chg="modSld">
      <pc:chgData name="Tanvir Ahmed Farook" userId="TCYBb3uSJ+bdHYXHvL8inqj6VAMXLD9G89AUjqTPq2w=" providerId="None" clId="Web-{5D93AA09-BCA1-4D0A-8018-4842CA211D93}" dt="2025-03-06T19:55:51.651" v="53" actId="1076"/>
      <pc:docMkLst>
        <pc:docMk/>
      </pc:docMkLst>
      <pc:sldChg chg="addSp delSp modSp modCm">
        <pc:chgData name="Tanvir Ahmed Farook" userId="TCYBb3uSJ+bdHYXHvL8inqj6VAMXLD9G89AUjqTPq2w=" providerId="None" clId="Web-{5D93AA09-BCA1-4D0A-8018-4842CA211D93}" dt="2025-03-06T19:55:51.651" v="53" actId="1076"/>
        <pc:sldMkLst>
          <pc:docMk/>
          <pc:sldMk cId="810637578" sldId="263"/>
        </pc:sldMkLst>
        <pc:spChg chg="mod">
          <ac:chgData name="Tanvir Ahmed Farook" userId="TCYBb3uSJ+bdHYXHvL8inqj6VAMXLD9G89AUjqTPq2w=" providerId="None" clId="Web-{5D93AA09-BCA1-4D0A-8018-4842CA211D93}" dt="2025-03-06T19:55:51.651" v="53" actId="1076"/>
          <ac:spMkLst>
            <pc:docMk/>
            <pc:sldMk cId="810637578" sldId="263"/>
            <ac:spMk id="7" creationId="{299ECDEE-127D-9631-CFAC-5C6299E4ECA3}"/>
          </ac:spMkLst>
        </pc:spChg>
        <pc:spChg chg="mod">
          <ac:chgData name="Tanvir Ahmed Farook" userId="TCYBb3uSJ+bdHYXHvL8inqj6VAMXLD9G89AUjqTPq2w=" providerId="None" clId="Web-{5D93AA09-BCA1-4D0A-8018-4842CA211D93}" dt="2025-03-06T19:43:30.985" v="3" actId="1076"/>
          <ac:spMkLst>
            <pc:docMk/>
            <pc:sldMk cId="810637578" sldId="263"/>
            <ac:spMk id="69" creationId="{776AF60B-BFA5-9759-BCD1-2B2694CCF0E5}"/>
          </ac:spMkLst>
        </pc:spChg>
        <pc:picChg chg="del">
          <ac:chgData name="Tanvir Ahmed Farook" userId="TCYBb3uSJ+bdHYXHvL8inqj6VAMXLD9G89AUjqTPq2w=" providerId="None" clId="Web-{5D93AA09-BCA1-4D0A-8018-4842CA211D93}" dt="2025-03-06T19:44:19.971" v="8"/>
          <ac:picMkLst>
            <pc:docMk/>
            <pc:sldMk cId="810637578" sldId="263"/>
            <ac:picMk id="14" creationId="{900E130A-D877-0C2B-35B0-32ABB9065263}"/>
          </ac:picMkLst>
        </pc:picChg>
        <pc:picChg chg="add mod">
          <ac:chgData name="Tanvir Ahmed Farook" userId="TCYBb3uSJ+bdHYXHvL8inqj6VAMXLD9G89AUjqTPq2w=" providerId="None" clId="Web-{5D93AA09-BCA1-4D0A-8018-4842CA211D93}" dt="2025-03-06T19:43:20.141" v="0"/>
          <ac:picMkLst>
            <pc:docMk/>
            <pc:sldMk cId="810637578" sldId="263"/>
            <ac:picMk id="69" creationId="{62B959F5-455A-655F-F161-6252FB0D6268}"/>
          </ac:picMkLst>
        </pc:picChg>
        <pc:picChg chg="add mod">
          <ac:chgData name="Tanvir Ahmed Farook" userId="TCYBb3uSJ+bdHYXHvL8inqj6VAMXLD9G89AUjqTPq2w=" providerId="None" clId="Web-{5D93AA09-BCA1-4D0A-8018-4842CA211D93}" dt="2025-03-06T19:52:46.457" v="31" actId="1076"/>
          <ac:picMkLst>
            <pc:docMk/>
            <pc:sldMk cId="810637578" sldId="263"/>
            <ac:picMk id="70" creationId="{2909927E-C2ED-33CC-1DB6-D12A94C21117}"/>
          </ac:picMkLst>
        </pc:picChg>
        <pc:picChg chg="mod">
          <ac:chgData name="Tanvir Ahmed Farook" userId="TCYBb3uSJ+bdHYXHvL8inqj6VAMXLD9G89AUjqTPq2w=" providerId="None" clId="Web-{5D93AA09-BCA1-4D0A-8018-4842CA211D93}" dt="2025-03-06T19:50:49.344" v="25" actId="1076"/>
          <ac:picMkLst>
            <pc:docMk/>
            <pc:sldMk cId="810637578" sldId="263"/>
            <ac:picMk id="78" creationId="{62B959F5-455A-655F-F161-6252FB0D6268}"/>
          </ac:picMkLst>
        </pc:picChg>
        <pc:picChg chg="add del mod">
          <ac:chgData name="Tanvir Ahmed Farook" userId="TCYBb3uSJ+bdHYXHvL8inqj6VAMXLD9G89AUjqTPq2w=" providerId="None" clId="Web-{5D93AA09-BCA1-4D0A-8018-4842CA211D93}" dt="2025-03-06T19:46:48.539" v="15"/>
          <ac:picMkLst>
            <pc:docMk/>
            <pc:sldMk cId="810637578" sldId="263"/>
            <ac:picMk id="81" creationId="{E6C3BF8C-700A-408C-1367-82C680C45672}"/>
          </ac:picMkLst>
        </pc:picChg>
        <pc:picChg chg="add mod">
          <ac:chgData name="Tanvir Ahmed Farook" userId="TCYBb3uSJ+bdHYXHvL8inqj6VAMXLD9G89AUjqTPq2w=" providerId="None" clId="Web-{5D93AA09-BCA1-4D0A-8018-4842CA211D93}" dt="2025-03-06T19:53:01.489" v="32" actId="1076"/>
          <ac:picMkLst>
            <pc:docMk/>
            <pc:sldMk cId="810637578" sldId="263"/>
            <ac:picMk id="85" creationId="{E953E701-0539-7D31-6310-E5C121F80CCB}"/>
          </ac:picMkLst>
        </pc:picChg>
        <pc:extLst>
          <p:ext xmlns:p="http://schemas.openxmlformats.org/presentationml/2006/main" uri="{D6D511B9-2390-475A-947B-AFAB55BFBCF1}">
            <pc226:cmChg xmlns:pc226="http://schemas.microsoft.com/office/powerpoint/2022/06/main/command" chg="mod">
              <pc226:chgData name="Tanvir Ahmed Farook" userId="TCYBb3uSJ+bdHYXHvL8inqj6VAMXLD9G89AUjqTPq2w=" providerId="None" clId="Web-{5D93AA09-BCA1-4D0A-8018-4842CA211D93}" dt="2025-03-06T19:54:09.741" v="42" actId="20577"/>
              <pc2:cmMkLst xmlns:pc2="http://schemas.microsoft.com/office/powerpoint/2019/9/main/command">
                <pc:docMk/>
                <pc:sldMk cId="810637578" sldId="263"/>
                <pc2:cmMk id="{E0558DB1-E828-415A-BF3F-74D97FC8535A}"/>
              </pc2:cmMkLst>
            </pc226:cmChg>
          </p:ext>
        </pc:extLst>
      </pc:sldChg>
    </pc:docChg>
  </pc:docChgLst>
  <pc:docChgLst>
    <pc:chgData name="Yao Liu" userId="De98wOxqXTFY8++esdgi1+Besv75b2e3DCsfKbqDwqA=" providerId="None" clId="Web-{A56ADA1D-C7CD-4F73-9CE0-720D972A8D8E}"/>
    <pc:docChg chg="modSld">
      <pc:chgData name="Yao Liu" userId="De98wOxqXTFY8++esdgi1+Besv75b2e3DCsfKbqDwqA=" providerId="None" clId="Web-{A56ADA1D-C7CD-4F73-9CE0-720D972A8D8E}" dt="2025-03-06T20:50:50.889" v="30"/>
      <pc:docMkLst>
        <pc:docMk/>
      </pc:docMkLst>
      <pc:sldChg chg="modSp">
        <pc:chgData name="Yao Liu" userId="De98wOxqXTFY8++esdgi1+Besv75b2e3DCsfKbqDwqA=" providerId="None" clId="Web-{A56ADA1D-C7CD-4F73-9CE0-720D972A8D8E}" dt="2025-03-06T20:50:50.889" v="30"/>
        <pc:sldMkLst>
          <pc:docMk/>
          <pc:sldMk cId="810637578" sldId="263"/>
        </pc:sldMkLst>
        <pc:spChg chg="mod">
          <ac:chgData name="Yao Liu" userId="De98wOxqXTFY8++esdgi1+Besv75b2e3DCsfKbqDwqA=" providerId="None" clId="Web-{A56ADA1D-C7CD-4F73-9CE0-720D972A8D8E}" dt="2025-03-06T20:50:50.889" v="30"/>
          <ac:spMkLst>
            <pc:docMk/>
            <pc:sldMk cId="810637578" sldId="263"/>
            <ac:spMk id="5" creationId="{D4253DBF-C5E1-107A-A92F-3342904DDE9F}"/>
          </ac:spMkLst>
        </pc:spChg>
        <pc:spChg chg="mod">
          <ac:chgData name="Yao Liu" userId="De98wOxqXTFY8++esdgi1+Besv75b2e3DCsfKbqDwqA=" providerId="None" clId="Web-{A56ADA1D-C7CD-4F73-9CE0-720D972A8D8E}" dt="2025-03-06T20:20:20.919" v="0" actId="20577"/>
          <ac:spMkLst>
            <pc:docMk/>
            <pc:sldMk cId="810637578" sldId="263"/>
            <ac:spMk id="76" creationId="{48CD5E2D-C4B8-BA81-84C4-DA4C91DBAAF9}"/>
          </ac:spMkLst>
        </pc:spChg>
        <pc:spChg chg="mod">
          <ac:chgData name="Yao Liu" userId="De98wOxqXTFY8++esdgi1+Besv75b2e3DCsfKbqDwqA=" providerId="None" clId="Web-{A56ADA1D-C7CD-4F73-9CE0-720D972A8D8E}" dt="2025-03-06T20:20:44.123" v="4" actId="20577"/>
          <ac:spMkLst>
            <pc:docMk/>
            <pc:sldMk cId="810637578" sldId="263"/>
            <ac:spMk id="81" creationId="{736A3F39-55EC-EE46-2D7A-20EBB6F3C7C8}"/>
          </ac:spMkLst>
        </pc:spChg>
        <pc:spChg chg="mod">
          <ac:chgData name="Yao Liu" userId="De98wOxqXTFY8++esdgi1+Besv75b2e3DCsfKbqDwqA=" providerId="None" clId="Web-{A56ADA1D-C7CD-4F73-9CE0-720D972A8D8E}" dt="2025-03-06T20:20:32.044" v="2" actId="20577"/>
          <ac:spMkLst>
            <pc:docMk/>
            <pc:sldMk cId="810637578" sldId="263"/>
            <ac:spMk id="103" creationId="{714B413B-18F0-E1B8-CE3F-373315363887}"/>
          </ac:spMkLst>
        </pc:spChg>
        <pc:spChg chg="mod">
          <ac:chgData name="Yao Liu" userId="De98wOxqXTFY8++esdgi1+Besv75b2e3DCsfKbqDwqA=" providerId="None" clId="Web-{A56ADA1D-C7CD-4F73-9CE0-720D972A8D8E}" dt="2025-03-06T20:50:20.341" v="27" actId="14100"/>
          <ac:spMkLst>
            <pc:docMk/>
            <pc:sldMk cId="810637578" sldId="263"/>
            <ac:spMk id="144" creationId="{7A944E77-0F91-A2B8-D59F-8AACC1B5F480}"/>
          </ac:spMkLst>
        </pc:spChg>
        <pc:picChg chg="mod">
          <ac:chgData name="Yao Liu" userId="De98wOxqXTFY8++esdgi1+Besv75b2e3DCsfKbqDwqA=" providerId="None" clId="Web-{A56ADA1D-C7CD-4F73-9CE0-720D972A8D8E}" dt="2025-03-06T20:35:33.482" v="12" actId="1076"/>
          <ac:picMkLst>
            <pc:docMk/>
            <pc:sldMk cId="810637578" sldId="263"/>
            <ac:picMk id="70" creationId="{2909927E-C2ED-33CC-1DB6-D12A94C21117}"/>
          </ac:picMkLst>
        </pc:picChg>
        <pc:picChg chg="mod">
          <ac:chgData name="Yao Liu" userId="De98wOxqXTFY8++esdgi1+Besv75b2e3DCsfKbqDwqA=" providerId="None" clId="Web-{A56ADA1D-C7CD-4F73-9CE0-720D972A8D8E}" dt="2025-03-06T20:35:40.092" v="13" actId="1076"/>
          <ac:picMkLst>
            <pc:docMk/>
            <pc:sldMk cId="810637578" sldId="263"/>
            <ac:picMk id="78" creationId="{62B959F5-455A-655F-F161-6252FB0D6268}"/>
          </ac:picMkLst>
        </pc:picChg>
        <pc:picChg chg="mod ord">
          <ac:chgData name="Yao Liu" userId="De98wOxqXTFY8++esdgi1+Besv75b2e3DCsfKbqDwqA=" providerId="None" clId="Web-{A56ADA1D-C7CD-4F73-9CE0-720D972A8D8E}" dt="2025-03-06T20:33:38.775" v="9"/>
          <ac:picMkLst>
            <pc:docMk/>
            <pc:sldMk cId="810637578" sldId="263"/>
            <ac:picMk id="85" creationId="{E953E701-0539-7D31-6310-E5C121F80CC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4/10/2025</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4/10/2025</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18" Type="http://schemas.openxmlformats.org/officeDocument/2006/relationships/image" Target="../media/image17.png"/><Relationship Id="rId26" Type="http://schemas.openxmlformats.org/officeDocument/2006/relationships/image" Target="../media/image25.png"/><Relationship Id="rId3" Type="http://schemas.openxmlformats.org/officeDocument/2006/relationships/hyperlink" Target="https://onlinelibrary.wiley.com/authored-by/Wang/Zixin" TargetMode="External"/><Relationship Id="rId21" Type="http://schemas.openxmlformats.org/officeDocument/2006/relationships/image" Target="../media/image20.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png"/><Relationship Id="rId25" Type="http://schemas.openxmlformats.org/officeDocument/2006/relationships/image" Target="../media/image24.png"/><Relationship Id="rId2" Type="http://schemas.openxmlformats.org/officeDocument/2006/relationships/image" Target="../media/image2.emf"/><Relationship Id="rId16" Type="http://schemas.openxmlformats.org/officeDocument/2006/relationships/image" Target="../media/image15.png"/><Relationship Id="rId20" Type="http://schemas.openxmlformats.org/officeDocument/2006/relationships/image" Target="../media/image19.png"/><Relationship Id="rId29"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10.png"/><Relationship Id="rId24" Type="http://schemas.openxmlformats.org/officeDocument/2006/relationships/image" Target="../media/image23.png"/><Relationship Id="rId5" Type="http://schemas.openxmlformats.org/officeDocument/2006/relationships/image" Target="../media/image4.png"/><Relationship Id="rId15" Type="http://schemas.openxmlformats.org/officeDocument/2006/relationships/image" Target="../media/image14.png"/><Relationship Id="rId23" Type="http://schemas.openxmlformats.org/officeDocument/2006/relationships/image" Target="../media/image22.png"/><Relationship Id="rId28" Type="http://schemas.openxmlformats.org/officeDocument/2006/relationships/image" Target="../media/image27.png"/><Relationship Id="rId10" Type="http://schemas.openxmlformats.org/officeDocument/2006/relationships/image" Target="../media/image9.png"/><Relationship Id="rId19" Type="http://schemas.openxmlformats.org/officeDocument/2006/relationships/image" Target="../media/image18.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 Id="rId22" Type="http://schemas.openxmlformats.org/officeDocument/2006/relationships/image" Target="../media/image21.png"/><Relationship Id="rId27" Type="http://schemas.openxmlformats.org/officeDocument/2006/relationships/image" Target="../media/image26.jpe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18" Type="http://schemas.openxmlformats.org/officeDocument/2006/relationships/image" Target="../media/image17.png"/><Relationship Id="rId26" Type="http://schemas.openxmlformats.org/officeDocument/2006/relationships/image" Target="../media/image24.png"/><Relationship Id="rId3" Type="http://schemas.openxmlformats.org/officeDocument/2006/relationships/hyperlink" Target="https://onlinelibrary.wiley.com/authored-by/Wang/Zixin" TargetMode="External"/><Relationship Id="rId21" Type="http://schemas.openxmlformats.org/officeDocument/2006/relationships/image" Target="../media/image19.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png"/><Relationship Id="rId25" Type="http://schemas.openxmlformats.org/officeDocument/2006/relationships/image" Target="../media/image23.png"/><Relationship Id="rId2" Type="http://schemas.openxmlformats.org/officeDocument/2006/relationships/image" Target="../media/image2.emf"/><Relationship Id="rId16" Type="http://schemas.openxmlformats.org/officeDocument/2006/relationships/image" Target="../media/image15.png"/><Relationship Id="rId20" Type="http://schemas.openxmlformats.org/officeDocument/2006/relationships/image" Target="../media/image18.png"/><Relationship Id="rId29" Type="http://schemas.openxmlformats.org/officeDocument/2006/relationships/image" Target="../media/image27.png"/><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10.png"/><Relationship Id="rId24" Type="http://schemas.openxmlformats.org/officeDocument/2006/relationships/image" Target="../media/image22.png"/><Relationship Id="rId5" Type="http://schemas.openxmlformats.org/officeDocument/2006/relationships/image" Target="../media/image4.png"/><Relationship Id="rId15" Type="http://schemas.openxmlformats.org/officeDocument/2006/relationships/image" Target="../media/image14.png"/><Relationship Id="rId23" Type="http://schemas.openxmlformats.org/officeDocument/2006/relationships/image" Target="../media/image21.png"/><Relationship Id="rId28" Type="http://schemas.openxmlformats.org/officeDocument/2006/relationships/image" Target="../media/image26.jpeg"/><Relationship Id="rId10" Type="http://schemas.openxmlformats.org/officeDocument/2006/relationships/image" Target="../media/image9.png"/><Relationship Id="rId19" Type="http://schemas.openxmlformats.org/officeDocument/2006/relationships/image" Target="../media/image2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 Id="rId22" Type="http://schemas.openxmlformats.org/officeDocument/2006/relationships/image" Target="../media/image20.png"/><Relationship Id="rId27" Type="http://schemas.openxmlformats.org/officeDocument/2006/relationships/image" Target="../media/image25.png"/><Relationship Id="rId30"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AC85C-6983-CCFA-BDD5-39495A4D522D}"/>
            </a:ext>
          </a:extLst>
        </p:cNvPr>
        <p:cNvGrpSpPr/>
        <p:nvPr/>
      </p:nvGrpSpPr>
      <p:grpSpPr>
        <a:xfrm>
          <a:off x="0" y="0"/>
          <a:ext cx="0" cy="0"/>
          <a:chOff x="0" y="0"/>
          <a:chExt cx="0" cy="0"/>
        </a:xfrm>
      </p:grpSpPr>
      <p:pic>
        <p:nvPicPr>
          <p:cNvPr id="4" name="Black Bar">
            <a:extLst>
              <a:ext uri="{FF2B5EF4-FFF2-40B4-BE49-F238E27FC236}">
                <a16:creationId xmlns:a16="http://schemas.microsoft.com/office/drawing/2014/main" id="{7D15CC57-B234-30E0-D375-3F70A5B940EC}"/>
              </a:ext>
            </a:extLst>
          </p:cNvPr>
          <p:cNvPicPr>
            <a:picLocks noChangeAspect="1"/>
          </p:cNvPicPr>
          <p:nvPr/>
        </p:nvPicPr>
        <p:blipFill>
          <a:blip r:embed="rId2"/>
          <a:stretch>
            <a:fillRect/>
          </a:stretch>
        </p:blipFill>
        <p:spPr>
          <a:xfrm>
            <a:off x="10475" y="19697"/>
            <a:ext cx="29752972" cy="2807800"/>
          </a:xfrm>
          <a:prstGeom prst="rect">
            <a:avLst/>
          </a:prstGeom>
        </p:spPr>
      </p:pic>
      <p:sp>
        <p:nvSpPr>
          <p:cNvPr id="5" name="Text Box 126">
            <a:extLst>
              <a:ext uri="{FF2B5EF4-FFF2-40B4-BE49-F238E27FC236}">
                <a16:creationId xmlns:a16="http://schemas.microsoft.com/office/drawing/2014/main" id="{4554413B-21CE-6848-DDB6-E1882555DA1C}"/>
              </a:ext>
            </a:extLst>
          </p:cNvPr>
          <p:cNvSpPr txBox="1">
            <a:spLocks noChangeArrowheads="1"/>
          </p:cNvSpPr>
          <p:nvPr/>
        </p:nvSpPr>
        <p:spPr bwMode="auto">
          <a:xfrm>
            <a:off x="571381" y="90457"/>
            <a:ext cx="29329915"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a:spcBef>
                <a:spcPct val="50000"/>
              </a:spcBef>
            </a:pPr>
            <a:r>
              <a:rPr lang="en-US" altLang="en-US" sz="5400" b="1" dirty="0">
                <a:solidFill>
                  <a:schemeClr val="bg1"/>
                </a:solidFill>
                <a:latin typeface="Times New Roman"/>
                <a:cs typeface="Arial"/>
              </a:rPr>
              <a:t>Using Predictive Analytics in Logistics Industry to Associate Tolls and Damages to Customers</a:t>
            </a:r>
          </a:p>
        </p:txBody>
      </p:sp>
      <p:sp>
        <p:nvSpPr>
          <p:cNvPr id="46" name="Rectangle 45">
            <a:extLst>
              <a:ext uri="{FF2B5EF4-FFF2-40B4-BE49-F238E27FC236}">
                <a16:creationId xmlns:a16="http://schemas.microsoft.com/office/drawing/2014/main" id="{D47DEC70-8116-7436-F5F7-2DDACEA5624C}"/>
              </a:ext>
            </a:extLst>
          </p:cNvPr>
          <p:cNvSpPr/>
          <p:nvPr/>
        </p:nvSpPr>
        <p:spPr>
          <a:xfrm>
            <a:off x="9923858" y="8464396"/>
            <a:ext cx="5401800" cy="523220"/>
          </a:xfrm>
          <a:prstGeom prst="rect">
            <a:avLst/>
          </a:prstGeom>
        </p:spPr>
        <p:txBody>
          <a:bodyPr wrap="square" lIns="91440" tIns="45720" rIns="91440" bIns="45720" anchor="t">
            <a:spAutoFit/>
          </a:bodyPr>
          <a:lstStyle/>
          <a:p>
            <a:r>
              <a:rPr lang="en-US" altLang="en-US" sz="2800" b="1" dirty="0">
                <a:solidFill>
                  <a:schemeClr val="bg2">
                    <a:lumMod val="49000"/>
                  </a:schemeClr>
                </a:solidFill>
                <a:latin typeface="Times"/>
                <a:cs typeface="Times"/>
              </a:rPr>
              <a:t>RESEARCH OBJECTIVES</a:t>
            </a:r>
            <a:endParaRPr lang="en-US" sz="2800" b="1">
              <a:solidFill>
                <a:schemeClr val="bg2">
                  <a:lumMod val="49000"/>
                </a:schemeClr>
              </a:solidFill>
              <a:latin typeface="Times"/>
              <a:cs typeface="Times"/>
            </a:endParaRPr>
          </a:p>
        </p:txBody>
      </p:sp>
      <p:sp>
        <p:nvSpPr>
          <p:cNvPr id="9" name="Rectangle 8">
            <a:extLst>
              <a:ext uri="{FF2B5EF4-FFF2-40B4-BE49-F238E27FC236}">
                <a16:creationId xmlns:a16="http://schemas.microsoft.com/office/drawing/2014/main" id="{9BB207A6-5DB5-9F65-7FE4-05B866288B1D}"/>
              </a:ext>
            </a:extLst>
          </p:cNvPr>
          <p:cNvSpPr/>
          <p:nvPr/>
        </p:nvSpPr>
        <p:spPr>
          <a:xfrm>
            <a:off x="476073" y="3803231"/>
            <a:ext cx="2891267" cy="523220"/>
          </a:xfrm>
          <a:prstGeom prst="rect">
            <a:avLst/>
          </a:prstGeom>
        </p:spPr>
        <p:txBody>
          <a:bodyPr wrap="square" lIns="91440" tIns="45720" rIns="91440" bIns="45720" anchor="t">
            <a:spAutoFit/>
          </a:bodyPr>
          <a:lstStyle/>
          <a:p>
            <a:r>
              <a:rPr lang="en-US" altLang="en-US" sz="2800" b="1" dirty="0">
                <a:solidFill>
                  <a:schemeClr val="bg2">
                    <a:lumMod val="49000"/>
                  </a:schemeClr>
                </a:solidFill>
                <a:latin typeface="Times"/>
                <a:cs typeface="Times"/>
              </a:rPr>
              <a:t>ABSTRACT</a:t>
            </a:r>
          </a:p>
        </p:txBody>
      </p:sp>
      <p:sp>
        <p:nvSpPr>
          <p:cNvPr id="12" name="Rectangle 11">
            <a:extLst>
              <a:ext uri="{FF2B5EF4-FFF2-40B4-BE49-F238E27FC236}">
                <a16:creationId xmlns:a16="http://schemas.microsoft.com/office/drawing/2014/main" id="{CD465C23-EE68-DED7-613D-BC18DF25EE62}"/>
              </a:ext>
            </a:extLst>
          </p:cNvPr>
          <p:cNvSpPr/>
          <p:nvPr/>
        </p:nvSpPr>
        <p:spPr>
          <a:xfrm>
            <a:off x="476073" y="8110634"/>
            <a:ext cx="3480990"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a:cs typeface="Times"/>
              </a:rPr>
              <a:t>INTRODUCTION</a:t>
            </a:r>
          </a:p>
        </p:txBody>
      </p:sp>
      <p:sp>
        <p:nvSpPr>
          <p:cNvPr id="48" name="Rectangle 47">
            <a:extLst>
              <a:ext uri="{FF2B5EF4-FFF2-40B4-BE49-F238E27FC236}">
                <a16:creationId xmlns:a16="http://schemas.microsoft.com/office/drawing/2014/main" id="{1D35A63D-F4F9-32F4-BED1-44E60A65541D}"/>
              </a:ext>
            </a:extLst>
          </p:cNvPr>
          <p:cNvSpPr/>
          <p:nvPr/>
        </p:nvSpPr>
        <p:spPr>
          <a:xfrm>
            <a:off x="9923858" y="11137018"/>
            <a:ext cx="4789126"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a:cs typeface="Times"/>
              </a:rPr>
              <a:t>LITERATURE REVIEW</a:t>
            </a:r>
          </a:p>
        </p:txBody>
      </p:sp>
      <p:sp>
        <p:nvSpPr>
          <p:cNvPr id="44" name="Rectangle 106">
            <a:extLst>
              <a:ext uri="{FF2B5EF4-FFF2-40B4-BE49-F238E27FC236}">
                <a16:creationId xmlns:a16="http://schemas.microsoft.com/office/drawing/2014/main" id="{71564F97-4B80-B889-B63E-487889A2B934}"/>
              </a:ext>
            </a:extLst>
          </p:cNvPr>
          <p:cNvSpPr>
            <a:spLocks noChangeArrowheads="1"/>
          </p:cNvSpPr>
          <p:nvPr/>
        </p:nvSpPr>
        <p:spPr bwMode="auto">
          <a:xfrm>
            <a:off x="9923858" y="3509926"/>
            <a:ext cx="11710563" cy="853080"/>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pc="10" dirty="0">
                <a:latin typeface="Times"/>
                <a:cs typeface="Arial"/>
              </a:rPr>
              <a:t>Our approach enhances transparency with an interpretable model, reduces disputes, and streamlines operations for subscription-based trailer access model providers and customers.</a:t>
            </a:r>
            <a:endParaRPr lang="en-US" spc="10">
              <a:solidFill>
                <a:srgbClr val="000000"/>
              </a:solidFill>
              <a:latin typeface="Times"/>
              <a:cs typeface="Arial"/>
            </a:endParaRPr>
          </a:p>
          <a:p>
            <a:pPr algn="just"/>
            <a:endParaRPr lang="en-US" spc="10" dirty="0">
              <a:solidFill>
                <a:srgbClr val="FF0000"/>
              </a:solidFill>
              <a:latin typeface="Times"/>
              <a:cs typeface="Arial" panose="020B0604020202020204" pitchFamily="34" charset="0"/>
            </a:endParaRPr>
          </a:p>
        </p:txBody>
      </p:sp>
      <p:sp>
        <p:nvSpPr>
          <p:cNvPr id="47" name="TextBox 46">
            <a:extLst>
              <a:ext uri="{FF2B5EF4-FFF2-40B4-BE49-F238E27FC236}">
                <a16:creationId xmlns:a16="http://schemas.microsoft.com/office/drawing/2014/main" id="{8CCC8E06-1EC3-FAF7-7117-0BD5600E2DC9}"/>
              </a:ext>
            </a:extLst>
          </p:cNvPr>
          <p:cNvSpPr txBox="1"/>
          <p:nvPr/>
        </p:nvSpPr>
        <p:spPr>
          <a:xfrm>
            <a:off x="9923858" y="8968060"/>
            <a:ext cx="11526982" cy="2307555"/>
          </a:xfrm>
          <a:prstGeom prst="rect">
            <a:avLst/>
          </a:prstGeom>
          <a:noFill/>
        </p:spPr>
        <p:txBody>
          <a:bodyPr wrap="square" lIns="91440" tIns="45720" rIns="91440" bIns="45720" rtlCol="0" anchor="t">
            <a:spAutoFit/>
          </a:bodyPr>
          <a:lstStyle/>
          <a:p>
            <a:pPr marL="457200" indent="-457200" algn="just">
              <a:buAutoNum type="arabicPeriod"/>
            </a:pPr>
            <a:r>
              <a:rPr lang="en-US" sz="2400" dirty="0">
                <a:latin typeface="Times"/>
                <a:cs typeface="Times"/>
              </a:rPr>
              <a:t>To identify predictive modeling approaches and data analytics systems that can improve the accuracy and efficiency of toll attribution in a subscription-based trailer access model.</a:t>
            </a:r>
            <a:endParaRPr lang="en-US" sz="2400">
              <a:latin typeface="Times"/>
              <a:cs typeface="Arial"/>
            </a:endParaRPr>
          </a:p>
          <a:p>
            <a:pPr marL="457200" indent="-457200" algn="just">
              <a:buAutoNum type="arabicPeriod"/>
            </a:pPr>
            <a:r>
              <a:rPr lang="en-US" sz="2400" dirty="0">
                <a:latin typeface="Times"/>
                <a:cs typeface="Times"/>
              </a:rPr>
              <a:t>To establish methods that enhance trailer damage monitoring together with attribution processes despite existing inspection irregularities and trailer exchange frequency.</a:t>
            </a:r>
            <a:endParaRPr lang="en-US" sz="2400">
              <a:latin typeface="Times"/>
              <a:cs typeface="Times" charset="0"/>
            </a:endParaRPr>
          </a:p>
          <a:p>
            <a:pPr algn="just">
              <a:lnSpc>
                <a:spcPct val="107000"/>
              </a:lnSpc>
              <a:spcBef>
                <a:spcPts val="0"/>
              </a:spcBef>
              <a:spcAft>
                <a:spcPts val="800"/>
              </a:spcAft>
            </a:pPr>
            <a:endParaRPr lang="en-US" sz="2400" b="1" dirty="0">
              <a:latin typeface="Times"/>
              <a:cs typeface="Arial" panose="020B0604020202020204" pitchFamily="34" charset="0"/>
            </a:endParaRPr>
          </a:p>
        </p:txBody>
      </p:sp>
      <p:sp>
        <p:nvSpPr>
          <p:cNvPr id="51" name="Rectangle 50">
            <a:extLst>
              <a:ext uri="{FF2B5EF4-FFF2-40B4-BE49-F238E27FC236}">
                <a16:creationId xmlns:a16="http://schemas.microsoft.com/office/drawing/2014/main" id="{0B30D199-DF0A-5DA4-CFEA-44E1B9882FD5}"/>
              </a:ext>
            </a:extLst>
          </p:cNvPr>
          <p:cNvSpPr/>
          <p:nvPr/>
        </p:nvSpPr>
        <p:spPr>
          <a:xfrm>
            <a:off x="22213142" y="3475636"/>
            <a:ext cx="4789126"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a:cs typeface="Times"/>
              </a:rPr>
              <a:t>METHODOLOGY</a:t>
            </a:r>
          </a:p>
        </p:txBody>
      </p:sp>
      <p:sp>
        <p:nvSpPr>
          <p:cNvPr id="10" name="Rectangle 106">
            <a:extLst>
              <a:ext uri="{FF2B5EF4-FFF2-40B4-BE49-F238E27FC236}">
                <a16:creationId xmlns:a16="http://schemas.microsoft.com/office/drawing/2014/main" id="{EC26910D-EF9D-92D8-CC60-5C128DFDA98B}"/>
              </a:ext>
            </a:extLst>
          </p:cNvPr>
          <p:cNvSpPr>
            <a:spLocks noChangeArrowheads="1"/>
          </p:cNvSpPr>
          <p:nvPr/>
        </p:nvSpPr>
        <p:spPr bwMode="auto">
          <a:xfrm>
            <a:off x="476073" y="4114521"/>
            <a:ext cx="8627697" cy="1641754"/>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pc="10" dirty="0">
                <a:latin typeface="Times"/>
                <a:cs typeface="Times"/>
              </a:rPr>
              <a:t>A predictive system integrating telematics and images from trailer activities is developed in this study to enhance cost attribution, as well as toll and damage tracking in the logistics business model. The goal is to automate trailer toll data attribution and improve damage detection by leveraging telematics data and applying image classification with deep learning. The results will contribute to the automation of damage identification and severity assessment, the aggregation of tolls with the corresponding trip, and the proper attribution to the correct parties in the freight chain</a:t>
            </a:r>
            <a:r>
              <a:rPr lang="en-US" spc="10" dirty="0">
                <a:latin typeface="Times"/>
                <a:cs typeface="Times"/>
                <a:sym typeface="Wingdings" panose="05000000000000000000" pitchFamily="2" charset="2"/>
              </a:rPr>
              <a:t>.</a:t>
            </a:r>
          </a:p>
          <a:p>
            <a:pPr algn="just"/>
            <a:endParaRPr lang="en-US" spc="10" dirty="0">
              <a:latin typeface="Times"/>
              <a:cs typeface="Times"/>
            </a:endParaRPr>
          </a:p>
        </p:txBody>
      </p:sp>
      <p:cxnSp>
        <p:nvCxnSpPr>
          <p:cNvPr id="55" name="Straight Connector 54">
            <a:extLst>
              <a:ext uri="{FF2B5EF4-FFF2-40B4-BE49-F238E27FC236}">
                <a16:creationId xmlns:a16="http://schemas.microsoft.com/office/drawing/2014/main" id="{BB0009B9-BAE8-CA5A-1932-424CE181B437}"/>
              </a:ext>
            </a:extLst>
          </p:cNvPr>
          <p:cNvCxnSpPr/>
          <p:nvPr/>
        </p:nvCxnSpPr>
        <p:spPr bwMode="auto">
          <a:xfrm flipV="1">
            <a:off x="21922630" y="3632428"/>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06">
            <a:extLst>
              <a:ext uri="{FF2B5EF4-FFF2-40B4-BE49-F238E27FC236}">
                <a16:creationId xmlns:a16="http://schemas.microsoft.com/office/drawing/2014/main" id="{E1FFC1CF-AC40-E16B-DCA0-4CB808FCB806}"/>
              </a:ext>
            </a:extLst>
          </p:cNvPr>
          <p:cNvSpPr>
            <a:spLocks noChangeArrowheads="1"/>
          </p:cNvSpPr>
          <p:nvPr/>
        </p:nvSpPr>
        <p:spPr bwMode="auto">
          <a:xfrm>
            <a:off x="476073" y="8528169"/>
            <a:ext cx="8650393" cy="711848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pc="10" dirty="0">
                <a:solidFill>
                  <a:srgbClr val="000000"/>
                </a:solidFill>
                <a:latin typeface="Times"/>
                <a:cs typeface="Times"/>
              </a:rPr>
              <a:t>Traditional 3PL logistics business models face challenges in balancing capacity and efficiency. Directly owning trailer assets requires a huge initial investment and ongoing maintenance costs, making capacity highly inflexible and leading to potential losses due to asset downtime. A </a:t>
            </a:r>
            <a:r>
              <a:rPr lang="en-US" b="1" spc="10" dirty="0">
                <a:solidFill>
                  <a:srgbClr val="000000"/>
                </a:solidFill>
                <a:latin typeface="Times"/>
                <a:cs typeface="Times"/>
              </a:rPr>
              <a:t>subscription-based trailer access model</a:t>
            </a:r>
            <a:r>
              <a:rPr lang="en-US" spc="10" dirty="0">
                <a:solidFill>
                  <a:srgbClr val="000000"/>
                </a:solidFill>
                <a:latin typeface="Times"/>
                <a:cs typeface="Times"/>
              </a:rPr>
              <a:t> offers a flexible solution to this challenge. Companies subscribe to trailer capacity, while the provider handles maintenance. This approach addresses the pain points of inflexible, seasonal capacity and high capital investment, expanding opportunities not only for 3PLs but also for brokers and carriers.</a:t>
            </a:r>
            <a:endParaRPr lang="en-US">
              <a:latin typeface="Times"/>
              <a:cs typeface="Times"/>
            </a:endParaRPr>
          </a:p>
          <a:p>
            <a:pPr algn="just"/>
            <a:endParaRPr lang="en-US" spc="10" dirty="0">
              <a:solidFill>
                <a:srgbClr val="000000"/>
              </a:solidFill>
              <a:latin typeface="Times"/>
              <a:cs typeface="Times New Roman"/>
            </a:endParaRPr>
          </a:p>
          <a:p>
            <a:pPr algn="just"/>
            <a:r>
              <a:rPr lang="en-US" spc="10" dirty="0">
                <a:latin typeface="Times"/>
                <a:cs typeface="Arial"/>
              </a:rPr>
              <a:t>Under this trailer leasing model, t</a:t>
            </a:r>
            <a:r>
              <a:rPr lang="en-US" spc="10" dirty="0">
                <a:latin typeface="Times"/>
                <a:cs typeface="Times"/>
              </a:rPr>
              <a:t>he logistics industry faces challenges in cost attribution and damage tracking due to</a:t>
            </a:r>
            <a:r>
              <a:rPr lang="en-US" spc="10" dirty="0">
                <a:latin typeface="Times"/>
                <a:cs typeface="Arial"/>
              </a:rPr>
              <a:t> unknown parties in the freight chain</a:t>
            </a:r>
            <a:r>
              <a:rPr lang="en-US" spc="10" dirty="0">
                <a:latin typeface="Times"/>
                <a:cs typeface="Segoe UI"/>
              </a:rPr>
              <a:t>, l</a:t>
            </a:r>
            <a:r>
              <a:rPr lang="en-US" spc="10" dirty="0">
                <a:latin typeface="Times"/>
                <a:cs typeface="Arial"/>
              </a:rPr>
              <a:t>eading to inefficiencies and billing disputes</a:t>
            </a:r>
            <a:r>
              <a:rPr lang="en-US" spc="10" dirty="0">
                <a:latin typeface="Times"/>
                <a:cs typeface="Segoe UI"/>
              </a:rPr>
              <a:t>. This study develops an analytics solution leveraging AI and telematics data to improve cost attribution and automate damage detection with limited data from logistics customers.</a:t>
            </a:r>
            <a:endParaRPr lang="en-US" dirty="0">
              <a:latin typeface="Times"/>
              <a:cs typeface="Segoe UI"/>
            </a:endParaRPr>
          </a:p>
        </p:txBody>
      </p:sp>
      <p:cxnSp>
        <p:nvCxnSpPr>
          <p:cNvPr id="56" name="Straight Connector 55">
            <a:extLst>
              <a:ext uri="{FF2B5EF4-FFF2-40B4-BE49-F238E27FC236}">
                <a16:creationId xmlns:a16="http://schemas.microsoft.com/office/drawing/2014/main" id="{4E2F651D-ED6F-8468-4BBE-3AB56883ACCA}"/>
              </a:ext>
            </a:extLst>
          </p:cNvPr>
          <p:cNvCxnSpPr/>
          <p:nvPr/>
        </p:nvCxnSpPr>
        <p:spPr bwMode="auto">
          <a:xfrm flipV="1">
            <a:off x="33269346" y="3495246"/>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Rectangle 106">
            <a:extLst>
              <a:ext uri="{FF2B5EF4-FFF2-40B4-BE49-F238E27FC236}">
                <a16:creationId xmlns:a16="http://schemas.microsoft.com/office/drawing/2014/main" id="{353F4F9A-204A-5A5B-8C9A-F58AFB5AC4A3}"/>
              </a:ext>
            </a:extLst>
          </p:cNvPr>
          <p:cNvSpPr>
            <a:spLocks noChangeArrowheads="1"/>
          </p:cNvSpPr>
          <p:nvPr/>
        </p:nvSpPr>
        <p:spPr bwMode="auto">
          <a:xfrm>
            <a:off x="9923858" y="11429873"/>
            <a:ext cx="11534516" cy="3395963"/>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pc="10" dirty="0">
                <a:latin typeface="Times"/>
                <a:cs typeface="Times"/>
              </a:rPr>
              <a:t>Cost allocation in logistics remains a challenge due to data inconsistencies and operational complexities. Prior research, such as Sheng Xu et al. (2020), introduced a Time-Driven-Activity-Based (TDABC) model integrated with shared logistics platforms to enhance real-time cost attribution. In parallel, damage detection research has explored the effectiveness of </a:t>
            </a:r>
            <a:r>
              <a:rPr lang="en-US" b="1" spc="10" dirty="0">
                <a:latin typeface="Times"/>
                <a:cs typeface="Times"/>
              </a:rPr>
              <a:t>MobileNetV2</a:t>
            </a:r>
            <a:r>
              <a:rPr lang="en-US" spc="10" dirty="0">
                <a:latin typeface="Times"/>
                <a:cs typeface="Times"/>
              </a:rPr>
              <a:t> for classifying damage types in large-scale inspections (Wang et al., 2021; </a:t>
            </a:r>
            <a:r>
              <a:rPr lang="en-US" spc="10" dirty="0" err="1">
                <a:latin typeface="Times"/>
                <a:cs typeface="Times"/>
              </a:rPr>
              <a:t>Cimili</a:t>
            </a:r>
            <a:r>
              <a:rPr lang="en-US" spc="10" dirty="0">
                <a:latin typeface="Times"/>
                <a:cs typeface="Times"/>
              </a:rPr>
              <a:t> et al., 2022). These studies emphasize the </a:t>
            </a:r>
            <a:r>
              <a:rPr lang="en-US" b="1" spc="10" dirty="0">
                <a:latin typeface="Times"/>
                <a:cs typeface="Times"/>
              </a:rPr>
              <a:t>strength of transfer learning</a:t>
            </a:r>
            <a:r>
              <a:rPr lang="en-US" spc="10" dirty="0">
                <a:latin typeface="Times"/>
                <a:cs typeface="Times"/>
              </a:rPr>
              <a:t> but highlight gaps in quantifying damage severity for intelligent decision-making. Our work builds upon these foundations by integrating </a:t>
            </a:r>
            <a:r>
              <a:rPr lang="en-US" b="1" spc="10" dirty="0">
                <a:latin typeface="Times"/>
                <a:cs typeface="Times"/>
              </a:rPr>
              <a:t>geospatial toll attribution with damage classification and severity labeling</a:t>
            </a:r>
            <a:r>
              <a:rPr lang="en-US" spc="10" dirty="0">
                <a:latin typeface="Times"/>
                <a:cs typeface="Times"/>
              </a:rPr>
              <a:t>, ensuring accurate cost allocation and responsibility tracking in a subscription-based trailer access model.</a:t>
            </a:r>
            <a:endParaRPr lang="en-US" b="1" spc="10">
              <a:latin typeface="Times"/>
              <a:cs typeface="Times"/>
            </a:endParaRPr>
          </a:p>
        </p:txBody>
      </p:sp>
      <p:cxnSp>
        <p:nvCxnSpPr>
          <p:cNvPr id="53" name="Straight Connector 52">
            <a:extLst>
              <a:ext uri="{FF2B5EF4-FFF2-40B4-BE49-F238E27FC236}">
                <a16:creationId xmlns:a16="http://schemas.microsoft.com/office/drawing/2014/main" id="{4BD9802F-D01A-203A-CB2F-F60BF5B1A33B}"/>
              </a:ext>
            </a:extLst>
          </p:cNvPr>
          <p:cNvCxnSpPr/>
          <p:nvPr/>
        </p:nvCxnSpPr>
        <p:spPr bwMode="auto">
          <a:xfrm flipV="1">
            <a:off x="9656007" y="3610648"/>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 name="Rectangle 74">
            <a:extLst>
              <a:ext uri="{FF2B5EF4-FFF2-40B4-BE49-F238E27FC236}">
                <a16:creationId xmlns:a16="http://schemas.microsoft.com/office/drawing/2014/main" id="{806B0FF3-6F00-13CA-925F-02A4AE7301D0}"/>
              </a:ext>
            </a:extLst>
          </p:cNvPr>
          <p:cNvSpPr/>
          <p:nvPr/>
        </p:nvSpPr>
        <p:spPr>
          <a:xfrm>
            <a:off x="33548273" y="3475636"/>
            <a:ext cx="4213035"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a:cs typeface="Times"/>
              </a:rPr>
              <a:t>EXPECTED IMPACT</a:t>
            </a:r>
          </a:p>
        </p:txBody>
      </p:sp>
      <p:sp>
        <p:nvSpPr>
          <p:cNvPr id="77" name="Rectangle 76">
            <a:extLst>
              <a:ext uri="{FF2B5EF4-FFF2-40B4-BE49-F238E27FC236}">
                <a16:creationId xmlns:a16="http://schemas.microsoft.com/office/drawing/2014/main" id="{C213C033-83DF-1C28-DEC8-79E659151B90}"/>
              </a:ext>
            </a:extLst>
          </p:cNvPr>
          <p:cNvSpPr/>
          <p:nvPr/>
        </p:nvSpPr>
        <p:spPr>
          <a:xfrm>
            <a:off x="33548273" y="13987987"/>
            <a:ext cx="3480990"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a:cs typeface="Times"/>
              </a:rPr>
              <a:t>CONCLUSION</a:t>
            </a:r>
          </a:p>
        </p:txBody>
      </p:sp>
      <p:sp>
        <p:nvSpPr>
          <p:cNvPr id="105" name="TextBox 104">
            <a:extLst>
              <a:ext uri="{FF2B5EF4-FFF2-40B4-BE49-F238E27FC236}">
                <a16:creationId xmlns:a16="http://schemas.microsoft.com/office/drawing/2014/main" id="{0007B696-4C2F-9E22-5840-DAAFCF52E1AB}"/>
              </a:ext>
            </a:extLst>
          </p:cNvPr>
          <p:cNvSpPr txBox="1"/>
          <p:nvPr/>
        </p:nvSpPr>
        <p:spPr>
          <a:xfrm>
            <a:off x="33548273" y="14505016"/>
            <a:ext cx="9581156" cy="4524315"/>
          </a:xfrm>
          <a:prstGeom prst="rect">
            <a:avLst/>
          </a:prstGeom>
          <a:noFill/>
        </p:spPr>
        <p:txBody>
          <a:bodyPr wrap="square" lIns="91440" tIns="45720" rIns="91440" bIns="45720" rtlCol="0" anchor="t">
            <a:spAutoFit/>
          </a:bodyPr>
          <a:lstStyle/>
          <a:p>
            <a:pPr algn="just">
              <a:spcBef>
                <a:spcPts val="200"/>
              </a:spcBef>
              <a:spcAft>
                <a:spcPts val="0"/>
              </a:spcAft>
            </a:pPr>
            <a:r>
              <a:rPr lang="en-US" sz="2400" spc="10" dirty="0">
                <a:latin typeface="Times"/>
                <a:cs typeface="Times"/>
              </a:rPr>
              <a:t>Before automation, toll and damage attribution, as well as image comparison, were performed manually, leading to longer processing times and a higher risk of human error. By implementing an automated process, we were able to significantly reduce processing time by ~2-3 FTEs and cut costs by close 0.5 Million USD annually. Additionally, automation minimized manual errors, enhancing the accuracy and reliability of the attribution process.</a:t>
            </a:r>
            <a:endParaRPr lang="en-US" sz="2400" spc="10">
              <a:latin typeface="Times"/>
              <a:cs typeface="Times"/>
            </a:endParaRPr>
          </a:p>
          <a:p>
            <a:pPr algn="just"/>
            <a:r>
              <a:rPr lang="en-US" sz="2400" spc="10" dirty="0">
                <a:latin typeface="Times"/>
                <a:cs typeface="Times New Roman"/>
              </a:rPr>
              <a:t>Considering the industry's payment cycle, timely and accurate attribution is critical. The automation of toll and damage identification ensures faster invoicing of carriers and accelerates insurance claims and settlement processes. Ultimately, this enhances cash flow management, improves operational efficiency, and strengthens compliance with industry standards.</a:t>
            </a:r>
          </a:p>
        </p:txBody>
      </p:sp>
      <p:sp>
        <p:nvSpPr>
          <p:cNvPr id="106" name="Rectangle 105">
            <a:extLst>
              <a:ext uri="{FF2B5EF4-FFF2-40B4-BE49-F238E27FC236}">
                <a16:creationId xmlns:a16="http://schemas.microsoft.com/office/drawing/2014/main" id="{7355FA1E-67D7-3AF3-D14B-924F4BAEF7D2}"/>
              </a:ext>
            </a:extLst>
          </p:cNvPr>
          <p:cNvSpPr/>
          <p:nvPr/>
        </p:nvSpPr>
        <p:spPr>
          <a:xfrm>
            <a:off x="33548273" y="19212237"/>
            <a:ext cx="4705362" cy="523220"/>
          </a:xfrm>
          <a:prstGeom prst="rect">
            <a:avLst/>
          </a:prstGeom>
        </p:spPr>
        <p:txBody>
          <a:bodyPr wrap="square" lIns="91440" tIns="45720" rIns="91440" bIns="45720" anchor="t">
            <a:spAutoFit/>
          </a:bodyPr>
          <a:lstStyle/>
          <a:p>
            <a:r>
              <a:rPr lang="en-US" sz="2800" b="1">
                <a:solidFill>
                  <a:schemeClr val="bg2">
                    <a:lumMod val="49000"/>
                  </a:schemeClr>
                </a:solidFill>
                <a:latin typeface="Times"/>
                <a:cs typeface="Times"/>
              </a:rPr>
              <a:t>ACKNOWLEDGEMENT</a:t>
            </a:r>
            <a:endParaRPr lang="en-US" sz="2800" b="1" dirty="0">
              <a:solidFill>
                <a:schemeClr val="bg2">
                  <a:lumMod val="49000"/>
                </a:schemeClr>
              </a:solidFill>
              <a:latin typeface="Times"/>
              <a:cs typeface="Times"/>
            </a:endParaRPr>
          </a:p>
        </p:txBody>
      </p:sp>
      <p:sp>
        <p:nvSpPr>
          <p:cNvPr id="107" name="TextBox 106">
            <a:extLst>
              <a:ext uri="{FF2B5EF4-FFF2-40B4-BE49-F238E27FC236}">
                <a16:creationId xmlns:a16="http://schemas.microsoft.com/office/drawing/2014/main" id="{C70B0DD6-236C-86BF-81BF-8FD065B68AA0}"/>
              </a:ext>
            </a:extLst>
          </p:cNvPr>
          <p:cNvSpPr txBox="1"/>
          <p:nvPr/>
        </p:nvSpPr>
        <p:spPr>
          <a:xfrm>
            <a:off x="33548273" y="19762872"/>
            <a:ext cx="9580755" cy="830997"/>
          </a:xfrm>
          <a:prstGeom prst="rect">
            <a:avLst/>
          </a:prstGeom>
          <a:noFill/>
        </p:spPr>
        <p:txBody>
          <a:bodyPr wrap="square" lIns="91440" tIns="45720" rIns="91440" bIns="45720" anchor="t">
            <a:spAutoFit/>
          </a:bodyPr>
          <a:lstStyle/>
          <a:p>
            <a:pPr algn="just"/>
            <a:r>
              <a:rPr lang="en-IN" sz="2400" spc="10" dirty="0">
                <a:latin typeface="Times"/>
                <a:cs typeface="Times"/>
              </a:rPr>
              <a:t>We would like to thank Dr. Khan and our industry partner for this opportunity, their guidance, and support on this project.</a:t>
            </a:r>
          </a:p>
        </p:txBody>
      </p:sp>
      <p:sp>
        <p:nvSpPr>
          <p:cNvPr id="109" name="Rectangle 108">
            <a:extLst>
              <a:ext uri="{FF2B5EF4-FFF2-40B4-BE49-F238E27FC236}">
                <a16:creationId xmlns:a16="http://schemas.microsoft.com/office/drawing/2014/main" id="{FCFAE759-C9EB-4594-351D-870435B211F3}"/>
              </a:ext>
            </a:extLst>
          </p:cNvPr>
          <p:cNvSpPr/>
          <p:nvPr/>
        </p:nvSpPr>
        <p:spPr bwMode="auto">
          <a:xfrm>
            <a:off x="3266" y="20790130"/>
            <a:ext cx="43883035" cy="1148939"/>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8" name="TextBox 11">
            <a:extLst>
              <a:ext uri="{FF2B5EF4-FFF2-40B4-BE49-F238E27FC236}">
                <a16:creationId xmlns:a16="http://schemas.microsoft.com/office/drawing/2014/main" id="{280401C6-FD79-A8AE-FB6A-E5AB09A4D14E}"/>
              </a:ext>
            </a:extLst>
          </p:cNvPr>
          <p:cNvSpPr txBox="1"/>
          <p:nvPr/>
        </p:nvSpPr>
        <p:spPr>
          <a:xfrm>
            <a:off x="11045748" y="7577439"/>
            <a:ext cx="8472308"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latin typeface="Times New Roman"/>
                <a:cs typeface="Arial"/>
              </a:rPr>
              <a:t>Fig 2. Using Trailer telematics Data and Machine Learning for right attribution to win customer trust</a:t>
            </a:r>
            <a:endParaRPr lang="en-US">
              <a:latin typeface="Times New Roman"/>
              <a:cs typeface="Times New Roman"/>
            </a:endParaRPr>
          </a:p>
        </p:txBody>
      </p:sp>
      <p:graphicFrame>
        <p:nvGraphicFramePr>
          <p:cNvPr id="22" name="Table 21">
            <a:extLst>
              <a:ext uri="{FF2B5EF4-FFF2-40B4-BE49-F238E27FC236}">
                <a16:creationId xmlns:a16="http://schemas.microsoft.com/office/drawing/2014/main" id="{2AFC51B7-E64D-E8F9-E5AF-0FAD5DE313F9}"/>
              </a:ext>
            </a:extLst>
          </p:cNvPr>
          <p:cNvGraphicFramePr>
            <a:graphicFrameLocks noGrp="1"/>
          </p:cNvGraphicFramePr>
          <p:nvPr>
            <p:extLst>
              <p:ext uri="{D42A27DB-BD31-4B8C-83A1-F6EECF244321}">
                <p14:modId xmlns:p14="http://schemas.microsoft.com/office/powerpoint/2010/main" val="4120802831"/>
              </p:ext>
            </p:extLst>
          </p:nvPr>
        </p:nvGraphicFramePr>
        <p:xfrm>
          <a:off x="9923858" y="15489441"/>
          <a:ext cx="11539757" cy="4496369"/>
        </p:xfrm>
        <a:graphic>
          <a:graphicData uri="http://schemas.openxmlformats.org/drawingml/2006/table">
            <a:tbl>
              <a:tblPr bandRow="1">
                <a:tableStyleId>{5C22544A-7EE6-4342-B048-85BDC9FD1C3A}</a:tableStyleId>
              </a:tblPr>
              <a:tblGrid>
                <a:gridCol w="3277852">
                  <a:extLst>
                    <a:ext uri="{9D8B030D-6E8A-4147-A177-3AD203B41FA5}">
                      <a16:colId xmlns:a16="http://schemas.microsoft.com/office/drawing/2014/main" val="3259844882"/>
                    </a:ext>
                  </a:extLst>
                </a:gridCol>
                <a:gridCol w="1064013">
                  <a:extLst>
                    <a:ext uri="{9D8B030D-6E8A-4147-A177-3AD203B41FA5}">
                      <a16:colId xmlns:a16="http://schemas.microsoft.com/office/drawing/2014/main" val="1987268114"/>
                    </a:ext>
                  </a:extLst>
                </a:gridCol>
                <a:gridCol w="1381775">
                  <a:extLst>
                    <a:ext uri="{9D8B030D-6E8A-4147-A177-3AD203B41FA5}">
                      <a16:colId xmlns:a16="http://schemas.microsoft.com/office/drawing/2014/main" val="136245183"/>
                    </a:ext>
                  </a:extLst>
                </a:gridCol>
                <a:gridCol w="1166979">
                  <a:extLst>
                    <a:ext uri="{9D8B030D-6E8A-4147-A177-3AD203B41FA5}">
                      <a16:colId xmlns:a16="http://schemas.microsoft.com/office/drawing/2014/main" val="3599936234"/>
                    </a:ext>
                  </a:extLst>
                </a:gridCol>
                <a:gridCol w="1561567">
                  <a:extLst>
                    <a:ext uri="{9D8B030D-6E8A-4147-A177-3AD203B41FA5}">
                      <a16:colId xmlns:a16="http://schemas.microsoft.com/office/drawing/2014/main" val="4183000220"/>
                    </a:ext>
                  </a:extLst>
                </a:gridCol>
                <a:gridCol w="1519104">
                  <a:extLst>
                    <a:ext uri="{9D8B030D-6E8A-4147-A177-3AD203B41FA5}">
                      <a16:colId xmlns:a16="http://schemas.microsoft.com/office/drawing/2014/main" val="4024941910"/>
                    </a:ext>
                  </a:extLst>
                </a:gridCol>
                <a:gridCol w="1568467">
                  <a:extLst>
                    <a:ext uri="{9D8B030D-6E8A-4147-A177-3AD203B41FA5}">
                      <a16:colId xmlns:a16="http://schemas.microsoft.com/office/drawing/2014/main" val="2562162026"/>
                    </a:ext>
                  </a:extLst>
                </a:gridCol>
              </a:tblGrid>
              <a:tr h="294905">
                <a:tc rowSpan="3">
                  <a:txBody>
                    <a:bodyPr/>
                    <a:lstStyle/>
                    <a:p>
                      <a:pPr algn="ctr" rtl="0" fontAlgn="base">
                        <a:lnSpc>
                          <a:spcPts val="1275"/>
                        </a:lnSpc>
                      </a:pPr>
                      <a:endParaRPr lang="en-US" sz="1800" b="1" dirty="0">
                        <a:effectLst/>
                        <a:latin typeface="Arial"/>
                      </a:endParaRPr>
                    </a:p>
                    <a:p>
                      <a:pPr algn="ctr" rtl="0" fontAlgn="base">
                        <a:lnSpc>
                          <a:spcPts val="1275"/>
                        </a:lnSpc>
                      </a:pPr>
                      <a:r>
                        <a:rPr lang="en-US" sz="1800" b="1" dirty="0">
                          <a:effectLst/>
                          <a:latin typeface="Arial"/>
                        </a:rPr>
                        <a:t>Study</a:t>
                      </a:r>
                      <a:r>
                        <a:rPr lang="en-US" sz="1800" dirty="0">
                          <a:effectLst/>
                          <a:latin typeface="Arial"/>
                        </a:rPr>
                        <a:t>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gridSpan="6">
                  <a:txBody>
                    <a:bodyPr/>
                    <a:lstStyle/>
                    <a:p>
                      <a:pPr algn="ctr" rtl="0" fontAlgn="base">
                        <a:lnSpc>
                          <a:spcPts val="1275"/>
                        </a:lnSpc>
                      </a:pPr>
                      <a:r>
                        <a:rPr lang="en-US" sz="1800" b="1" dirty="0">
                          <a:effectLst/>
                          <a:latin typeface="Arial"/>
                        </a:rPr>
                        <a:t>Paper Aspect</a:t>
                      </a:r>
                      <a:r>
                        <a:rPr lang="en-US" sz="1800" dirty="0">
                          <a:effectLst/>
                          <a:latin typeface="Arial"/>
                        </a:rPr>
                        <a:t>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76439773"/>
                  </a:ext>
                </a:extLst>
              </a:tr>
              <a:tr h="294905">
                <a:tc vMerge="1">
                  <a:txBody>
                    <a:bodyPr/>
                    <a:lstStyle/>
                    <a:p>
                      <a:endParaRPr lang="en-US"/>
                    </a:p>
                  </a:txBody>
                  <a:tcPr/>
                </a:tc>
                <a:tc gridSpan="2">
                  <a:txBody>
                    <a:bodyPr/>
                    <a:lstStyle/>
                    <a:p>
                      <a:pPr algn="ctr" rtl="0" fontAlgn="base">
                        <a:lnSpc>
                          <a:spcPts val="1275"/>
                        </a:lnSpc>
                      </a:pPr>
                      <a:r>
                        <a:rPr lang="en-US" sz="1800" dirty="0">
                          <a:effectLst/>
                          <a:latin typeface="Arial"/>
                        </a:rPr>
                        <a:t>Tolls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hMerge="1">
                  <a:txBody>
                    <a:bodyPr/>
                    <a:lstStyle/>
                    <a:p>
                      <a:endParaRPr lang="en-US"/>
                    </a:p>
                  </a:txBody>
                  <a:tcPr/>
                </a:tc>
                <a:tc gridSpan="4">
                  <a:txBody>
                    <a:bodyPr/>
                    <a:lstStyle/>
                    <a:p>
                      <a:pPr algn="ctr" rtl="0" fontAlgn="base">
                        <a:lnSpc>
                          <a:spcPts val="1275"/>
                        </a:lnSpc>
                      </a:pPr>
                      <a:r>
                        <a:rPr lang="en-US" sz="1800" dirty="0">
                          <a:effectLst/>
                          <a:latin typeface="Arial"/>
                        </a:rPr>
                        <a:t>Damage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89864480"/>
                  </a:ext>
                </a:extLst>
              </a:tr>
              <a:tr h="887216">
                <a:tc vMerge="1">
                  <a:txBody>
                    <a:bodyPr/>
                    <a:lstStyle/>
                    <a:p>
                      <a:endParaRPr lang="en-US"/>
                    </a:p>
                  </a:txBody>
                  <a:tcPr/>
                </a:tc>
                <a:tc>
                  <a:txBody>
                    <a:bodyPr/>
                    <a:lstStyle/>
                    <a:p>
                      <a:pPr algn="ctr" rtl="0" fontAlgn="base">
                        <a:lnSpc>
                          <a:spcPct val="100000"/>
                        </a:lnSpc>
                      </a:pPr>
                      <a:r>
                        <a:rPr lang="en-US" sz="1800" dirty="0">
                          <a:effectLst/>
                          <a:latin typeface="Arial"/>
                        </a:rPr>
                        <a:t>TDABC model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dirty="0">
                          <a:effectLst/>
                          <a:latin typeface="Arial"/>
                        </a:rPr>
                        <a:t>Shared Logistics Platform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dirty="0">
                          <a:effectLst/>
                          <a:latin typeface="Arial"/>
                        </a:rPr>
                        <a:t>MobileNetV2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dirty="0">
                          <a:effectLst/>
                          <a:latin typeface="Arial"/>
                        </a:rPr>
                        <a:t>Semi-Supervised Learning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err="1">
                          <a:effectLst/>
                          <a:latin typeface="Arial"/>
                        </a:rPr>
                        <a:t>MultipleType</a:t>
                      </a:r>
                      <a:r>
                        <a:rPr lang="en-US" sz="1800" dirty="0">
                          <a:effectLst/>
                          <a:latin typeface="Arial"/>
                        </a:rPr>
                        <a:t> damage classification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dirty="0">
                          <a:effectLst/>
                          <a:latin typeface="Arial"/>
                        </a:rPr>
                        <a:t>Model Enhancement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3397540817"/>
                  </a:ext>
                </a:extLst>
              </a:tr>
              <a:tr h="618500">
                <a:tc>
                  <a:txBody>
                    <a:bodyPr/>
                    <a:lstStyle/>
                    <a:p>
                      <a:pPr rtl="0" fontAlgn="base">
                        <a:lnSpc>
                          <a:spcPts val="1275"/>
                        </a:lnSpc>
                      </a:pPr>
                      <a:r>
                        <a:rPr lang="en-US" sz="1800" dirty="0">
                          <a:effectLst/>
                          <a:latin typeface="Arial"/>
                        </a:rPr>
                        <a:t>(Sheng Xu et al., 2020)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ts val="1275"/>
                        </a:lnSpc>
                        <a:buNone/>
                      </a:pPr>
                      <a:r>
                        <a:rPr lang="en-US" sz="1100" b="0" i="0" u="none" strike="noStrike" noProof="0" dirty="0">
                          <a:solidFill>
                            <a:srgbClr val="474747"/>
                          </a:solidFill>
                          <a:effectLst/>
                          <a:latin typeface="Arial"/>
                        </a:rPr>
                        <a:t>  </a:t>
                      </a:r>
                      <a:r>
                        <a:rPr lang="en-US" sz="2800" b="0" i="0" u="none" strike="noStrike" noProof="0" dirty="0">
                          <a:solidFill>
                            <a:srgbClr val="474747"/>
                          </a:solidFill>
                          <a:effectLst/>
                          <a:latin typeface="Arial"/>
                        </a:rPr>
                        <a:t>✔</a:t>
                      </a:r>
                      <a:endParaRPr lang="en-US" sz="2800" b="0" i="0" u="none" strike="noStrike" noProof="0" dirty="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ts val="1275"/>
                        </a:lnSpc>
                        <a:buNone/>
                      </a:pPr>
                      <a:r>
                        <a:rPr lang="en-US" sz="1100" b="0" i="0" u="none" strike="noStrike" noProof="0" dirty="0">
                          <a:solidFill>
                            <a:srgbClr val="474747"/>
                          </a:solidFill>
                          <a:effectLst/>
                          <a:latin typeface="Arial"/>
                        </a:rPr>
                        <a:t>  </a:t>
                      </a:r>
                      <a:r>
                        <a:rPr lang="en-US" sz="2800" b="0" i="0" u="none" strike="noStrike" noProof="0" dirty="0">
                          <a:solidFill>
                            <a:srgbClr val="474747"/>
                          </a:solidFill>
                          <a:effectLst/>
                          <a:latin typeface="Arial"/>
                        </a:rPr>
                        <a:t>✔</a:t>
                      </a:r>
                      <a:endParaRPr lang="en-US" sz="2800" b="0" i="0" u="none" strike="noStrike" noProof="0" dirty="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1063367"/>
                  </a:ext>
                </a:extLst>
              </a:tr>
              <a:tr h="618499">
                <a:tc>
                  <a:txBody>
                    <a:bodyPr/>
                    <a:lstStyle/>
                    <a:p>
                      <a:pPr rtl="0" fontAlgn="base">
                        <a:lnSpc>
                          <a:spcPts val="1275"/>
                        </a:lnSpc>
                      </a:pPr>
                      <a:r>
                        <a:rPr lang="en-US" sz="1800" dirty="0">
                          <a:effectLst/>
                          <a:latin typeface="Arial"/>
                        </a:rPr>
                        <a:t>(Pavel </a:t>
                      </a:r>
                      <a:r>
                        <a:rPr lang="en-US" sz="1800" err="1">
                          <a:effectLst/>
                          <a:latin typeface="Arial"/>
                        </a:rPr>
                        <a:t>Cimili</a:t>
                      </a:r>
                      <a:r>
                        <a:rPr lang="en-US" sz="1800" dirty="0">
                          <a:effectLst/>
                          <a:latin typeface="Arial"/>
                        </a:rPr>
                        <a:t>, et al., 2022)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ts val="1275"/>
                        </a:lnSpc>
                        <a:buNone/>
                      </a:pPr>
                      <a:r>
                        <a:rPr lang="en-US" sz="1100" b="0" i="0" u="none" strike="noStrike" noProof="0" dirty="0">
                          <a:solidFill>
                            <a:srgbClr val="474747"/>
                          </a:solidFill>
                          <a:effectLst/>
                          <a:latin typeface="Arial"/>
                        </a:rPr>
                        <a:t> </a:t>
                      </a:r>
                      <a:r>
                        <a:rPr lang="en-US" sz="2800" b="0" i="0" u="none" strike="noStrike" noProof="0" dirty="0">
                          <a:solidFill>
                            <a:srgbClr val="474747"/>
                          </a:solidFill>
                          <a:effectLst/>
                          <a:latin typeface="Arial"/>
                        </a:rPr>
                        <a:t>✔</a:t>
                      </a:r>
                      <a:endParaRPr lang="en-US" sz="2800" dirty="0"/>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9129025"/>
                  </a:ext>
                </a:extLst>
              </a:tr>
              <a:tr h="618500">
                <a:tc>
                  <a:txBody>
                    <a:bodyPr/>
                    <a:lstStyle/>
                    <a:p>
                      <a:pPr rtl="0" fontAlgn="base">
                        <a:lnSpc>
                          <a:spcPts val="1275"/>
                        </a:lnSpc>
                      </a:pPr>
                      <a:r>
                        <a:rPr lang="en-US" sz="1800" dirty="0">
                          <a:effectLst/>
                          <a:latin typeface="Arial"/>
                        </a:rPr>
                        <a:t>(Jiahao Chen et al., </a:t>
                      </a:r>
                      <a:r>
                        <a:rPr lang="en-US" sz="1800" i="1" dirty="0">
                          <a:effectLst/>
                          <a:latin typeface="Arial"/>
                        </a:rPr>
                        <a:t>n.d.)</a:t>
                      </a:r>
                      <a:r>
                        <a:rPr lang="en-US" sz="1800" dirty="0">
                          <a:effectLst/>
                          <a:latin typeface="Arial"/>
                        </a:rPr>
                        <a:t>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dirty="0">
                          <a:solidFill>
                            <a:srgbClr val="474747"/>
                          </a:solidFill>
                          <a:effectLst/>
                          <a:latin typeface="Arial"/>
                        </a:rPr>
                        <a:t>✔</a:t>
                      </a:r>
                      <a:endParaRPr lang="en-US" sz="2800" b="0" i="0" u="none" strike="noStrike" noProof="0" dirty="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2594619"/>
                  </a:ext>
                </a:extLst>
              </a:tr>
              <a:tr h="618500">
                <a:tc>
                  <a:txBody>
                    <a:bodyPr/>
                    <a:lstStyle/>
                    <a:p>
                      <a:pPr rtl="0" fontAlgn="base">
                        <a:lnSpc>
                          <a:spcPts val="1275"/>
                        </a:lnSpc>
                      </a:pPr>
                      <a:r>
                        <a:rPr lang="en-US" sz="1800" dirty="0">
                          <a:effectLst/>
                          <a:latin typeface="Arial"/>
                        </a:rPr>
                        <a:t>(</a:t>
                      </a:r>
                      <a:r>
                        <a:rPr lang="en-US" sz="1800" u="sng" strike="noStrike" dirty="0">
                          <a:solidFill>
                            <a:schemeClr val="tx1">
                              <a:lumMod val="95000"/>
                              <a:lumOff val="5000"/>
                            </a:schemeClr>
                          </a:solidFill>
                          <a:effectLst/>
                          <a:latin typeface="Arial"/>
                          <a:hlinkClick r:id="rId3">
                            <a:extLst>
                              <a:ext uri="{A12FA001-AC4F-418D-AE19-62706E023703}">
                                <ahyp:hlinkClr xmlns:ahyp="http://schemas.microsoft.com/office/drawing/2018/hyperlinkcolor" val="tx"/>
                              </a:ext>
                            </a:extLst>
                          </a:hlinkClick>
                        </a:rPr>
                        <a:t>Zixin Wang</a:t>
                      </a:r>
                      <a:r>
                        <a:rPr lang="en-US" sz="1800" u="sng" dirty="0">
                          <a:solidFill>
                            <a:schemeClr val="tx1">
                              <a:lumMod val="95000"/>
                              <a:lumOff val="5000"/>
                            </a:schemeClr>
                          </a:solidFill>
                          <a:effectLst/>
                          <a:latin typeface="Arial"/>
                        </a:rPr>
                        <a:t> </a:t>
                      </a:r>
                      <a:r>
                        <a:rPr lang="en-US" sz="1800" dirty="0">
                          <a:effectLst/>
                          <a:latin typeface="Arial"/>
                        </a:rPr>
                        <a:t>et al., 2021) </a:t>
                      </a:r>
                      <a:endParaRPr lang="en-US" dirty="0"/>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r>
                        <a:rPr lang="en-US" sz="1800" dirty="0">
                          <a:effectLst/>
                          <a:latin typeface="Arial"/>
                        </a:rPr>
                        <a:t> </a:t>
                      </a:r>
                      <a:endParaRPr lang="en-US" sz="2800" b="0" i="0" u="none" strike="noStrike" noProof="0" dirty="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7964679"/>
                  </a:ext>
                </a:extLst>
              </a:tr>
              <a:tr h="294905">
                <a:tc>
                  <a:txBody>
                    <a:bodyPr/>
                    <a:lstStyle/>
                    <a:p>
                      <a:pPr rtl="0" fontAlgn="base">
                        <a:lnSpc>
                          <a:spcPts val="1275"/>
                        </a:lnSpc>
                      </a:pPr>
                      <a:r>
                        <a:rPr lang="en-US" sz="1800" dirty="0">
                          <a:effectLst/>
                          <a:latin typeface="Arial"/>
                        </a:rPr>
                        <a:t>Our Study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02659"/>
                  </a:ext>
                </a:extLst>
              </a:tr>
            </a:tbl>
          </a:graphicData>
        </a:graphic>
      </p:graphicFrame>
      <p:sp>
        <p:nvSpPr>
          <p:cNvPr id="54" name="Rectangle: Rounded Corners 53">
            <a:extLst>
              <a:ext uri="{FF2B5EF4-FFF2-40B4-BE49-F238E27FC236}">
                <a16:creationId xmlns:a16="http://schemas.microsoft.com/office/drawing/2014/main" id="{AEAE1A7C-5154-F1EC-1465-EEA0E00F434D}"/>
              </a:ext>
            </a:extLst>
          </p:cNvPr>
          <p:cNvSpPr/>
          <p:nvPr/>
        </p:nvSpPr>
        <p:spPr>
          <a:xfrm>
            <a:off x="22401401" y="4600120"/>
            <a:ext cx="2017056" cy="795698"/>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i="1" dirty="0">
                <a:solidFill>
                  <a:srgbClr val="000000"/>
                </a:solidFill>
                <a:latin typeface="Arial"/>
                <a:cs typeface="Arial"/>
              </a:rPr>
              <a:t>Toll Agency </a:t>
            </a:r>
            <a:r>
              <a:rPr lang="en-US" sz="1200">
                <a:solidFill>
                  <a:srgbClr val="000000"/>
                </a:solidFill>
                <a:latin typeface="Arial"/>
                <a:cs typeface="Arial"/>
              </a:rPr>
              <a:t>sends</a:t>
            </a:r>
            <a:r>
              <a:rPr lang="en-US" sz="1200" dirty="0">
                <a:solidFill>
                  <a:srgbClr val="000000"/>
                </a:solidFill>
                <a:latin typeface="Arial"/>
                <a:cs typeface="Arial"/>
              </a:rPr>
              <a:t> Toll Data Report to </a:t>
            </a:r>
            <a:r>
              <a:rPr lang="en-US" sz="1200" i="1" dirty="0">
                <a:solidFill>
                  <a:srgbClr val="000000"/>
                </a:solidFill>
                <a:latin typeface="Arial"/>
                <a:cs typeface="Arial"/>
              </a:rPr>
              <a:t>Provider </a:t>
            </a:r>
            <a:r>
              <a:rPr lang="en-US" sz="1200" dirty="0">
                <a:solidFill>
                  <a:srgbClr val="000000"/>
                </a:solidFill>
                <a:latin typeface="Arial"/>
                <a:cs typeface="Arial"/>
              </a:rPr>
              <a:t>for Reimbursement</a:t>
            </a:r>
          </a:p>
        </p:txBody>
      </p:sp>
      <p:sp>
        <p:nvSpPr>
          <p:cNvPr id="57" name="Rectangle: Rounded Corners 56">
            <a:extLst>
              <a:ext uri="{FF2B5EF4-FFF2-40B4-BE49-F238E27FC236}">
                <a16:creationId xmlns:a16="http://schemas.microsoft.com/office/drawing/2014/main" id="{286D50C8-E11A-30B0-3139-6E1988FD303E}"/>
              </a:ext>
            </a:extLst>
          </p:cNvPr>
          <p:cNvSpPr/>
          <p:nvPr/>
        </p:nvSpPr>
        <p:spPr>
          <a:xfrm>
            <a:off x="25166823" y="4703638"/>
            <a:ext cx="1922431" cy="577726"/>
          </a:xfrm>
          <a:prstGeom prst="roundRect">
            <a:avLst/>
          </a:prstGeom>
          <a:solidFill>
            <a:schemeClr val="bg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dirty="0">
                <a:solidFill>
                  <a:srgbClr val="000000"/>
                </a:solidFill>
              </a:rPr>
              <a:t>Automation Logic</a:t>
            </a:r>
          </a:p>
        </p:txBody>
      </p:sp>
      <p:cxnSp>
        <p:nvCxnSpPr>
          <p:cNvPr id="58" name="Connector: Elbow 57">
            <a:extLst>
              <a:ext uri="{FF2B5EF4-FFF2-40B4-BE49-F238E27FC236}">
                <a16:creationId xmlns:a16="http://schemas.microsoft.com/office/drawing/2014/main" id="{AF0C487A-C008-CFFC-D2BC-98C3ABAE12FE}"/>
              </a:ext>
            </a:extLst>
          </p:cNvPr>
          <p:cNvCxnSpPr/>
          <p:nvPr/>
        </p:nvCxnSpPr>
        <p:spPr>
          <a:xfrm flipV="1">
            <a:off x="24697865" y="5091391"/>
            <a:ext cx="467651" cy="1082566"/>
          </a:xfrm>
          <a:prstGeom prst="bentConnector3">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CDE57450-D9ED-E3DA-4609-F677572FFC73}"/>
              </a:ext>
            </a:extLst>
          </p:cNvPr>
          <p:cNvCxnSpPr>
            <a:cxnSpLocks/>
          </p:cNvCxnSpPr>
          <p:nvPr/>
        </p:nvCxnSpPr>
        <p:spPr>
          <a:xfrm flipV="1">
            <a:off x="27099216" y="4990011"/>
            <a:ext cx="740771" cy="23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CAF517B2-18A2-A5B0-4482-BBA258FB4D09}"/>
              </a:ext>
            </a:extLst>
          </p:cNvPr>
          <p:cNvSpPr/>
          <p:nvPr/>
        </p:nvSpPr>
        <p:spPr>
          <a:xfrm>
            <a:off x="27841293" y="4703638"/>
            <a:ext cx="1922431" cy="57772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latin typeface="Arial"/>
                <a:cs typeface="Arial"/>
              </a:rPr>
              <a:t>Matching Subscriber to Tolls</a:t>
            </a:r>
            <a:r>
              <a:rPr lang="en-US" sz="1200">
                <a:solidFill>
                  <a:srgbClr val="000000"/>
                </a:solidFill>
                <a:latin typeface="Arial"/>
                <a:cs typeface="Arial"/>
              </a:rPr>
              <a:t> using </a:t>
            </a:r>
            <a:r>
              <a:rPr lang="en-US" sz="1200" dirty="0">
                <a:solidFill>
                  <a:srgbClr val="000000"/>
                </a:solidFill>
                <a:latin typeface="Arial"/>
                <a:cs typeface="Arial"/>
              </a:rPr>
              <a:t>Vehicle </a:t>
            </a:r>
            <a:r>
              <a:rPr lang="en-US" sz="1200">
                <a:solidFill>
                  <a:srgbClr val="000000"/>
                </a:solidFill>
                <a:latin typeface="Arial"/>
                <a:cs typeface="Arial"/>
              </a:rPr>
              <a:t>Identification Number</a:t>
            </a:r>
            <a:endParaRPr lang="en-US" sz="1200" dirty="0">
              <a:solidFill>
                <a:srgbClr val="000000"/>
              </a:solidFill>
              <a:latin typeface="Arial"/>
              <a:cs typeface="Arial"/>
            </a:endParaRPr>
          </a:p>
        </p:txBody>
      </p:sp>
      <p:cxnSp>
        <p:nvCxnSpPr>
          <p:cNvPr id="63" name="Straight Arrow Connector 62">
            <a:extLst>
              <a:ext uri="{FF2B5EF4-FFF2-40B4-BE49-F238E27FC236}">
                <a16:creationId xmlns:a16="http://schemas.microsoft.com/office/drawing/2014/main" id="{DDA03DF5-D3AE-01A2-843A-50D6A470A8E0}"/>
              </a:ext>
            </a:extLst>
          </p:cNvPr>
          <p:cNvCxnSpPr>
            <a:cxnSpLocks/>
          </p:cNvCxnSpPr>
          <p:nvPr/>
        </p:nvCxnSpPr>
        <p:spPr>
          <a:xfrm flipV="1">
            <a:off x="24424745" y="4990011"/>
            <a:ext cx="740771" cy="23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092C1F10-0DD1-58FD-173E-30413636C950}"/>
              </a:ext>
            </a:extLst>
          </p:cNvPr>
          <p:cNvSpPr/>
          <p:nvPr/>
        </p:nvSpPr>
        <p:spPr>
          <a:xfrm>
            <a:off x="30514886" y="5964469"/>
            <a:ext cx="1922431" cy="757020"/>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dirty="0">
                <a:solidFill>
                  <a:srgbClr val="000000"/>
                </a:solidFill>
              </a:rPr>
              <a:t>Send out emails to customers with Toll amounts</a:t>
            </a:r>
          </a:p>
        </p:txBody>
      </p:sp>
      <p:cxnSp>
        <p:nvCxnSpPr>
          <p:cNvPr id="65" name="Straight Arrow Connector 64">
            <a:extLst>
              <a:ext uri="{FF2B5EF4-FFF2-40B4-BE49-F238E27FC236}">
                <a16:creationId xmlns:a16="http://schemas.microsoft.com/office/drawing/2014/main" id="{31BEB150-1190-7A7D-FB92-766DE84C3818}"/>
              </a:ext>
            </a:extLst>
          </p:cNvPr>
          <p:cNvCxnSpPr>
            <a:cxnSpLocks/>
          </p:cNvCxnSpPr>
          <p:nvPr/>
        </p:nvCxnSpPr>
        <p:spPr>
          <a:xfrm flipV="1">
            <a:off x="29763725" y="4990011"/>
            <a:ext cx="740771" cy="23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Rounded Corners 66">
            <a:extLst>
              <a:ext uri="{FF2B5EF4-FFF2-40B4-BE49-F238E27FC236}">
                <a16:creationId xmlns:a16="http://schemas.microsoft.com/office/drawing/2014/main" id="{A53FFF23-B387-EB25-BB24-A0FD6A479961}"/>
              </a:ext>
            </a:extLst>
          </p:cNvPr>
          <p:cNvSpPr/>
          <p:nvPr/>
        </p:nvSpPr>
        <p:spPr>
          <a:xfrm>
            <a:off x="30531681" y="4703638"/>
            <a:ext cx="1922431" cy="57772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latin typeface="Arial"/>
                <a:cs typeface="Arial"/>
              </a:rPr>
              <a:t>Update Database with matched data daily using batch</a:t>
            </a:r>
            <a:endParaRPr lang="en-US" dirty="0">
              <a:solidFill>
                <a:srgbClr val="000000"/>
              </a:solidFill>
              <a:latin typeface="Arial"/>
              <a:cs typeface="Arial"/>
            </a:endParaRPr>
          </a:p>
        </p:txBody>
      </p:sp>
      <p:sp>
        <p:nvSpPr>
          <p:cNvPr id="68" name="Rectangle: Rounded Corners 67">
            <a:extLst>
              <a:ext uri="{FF2B5EF4-FFF2-40B4-BE49-F238E27FC236}">
                <a16:creationId xmlns:a16="http://schemas.microsoft.com/office/drawing/2014/main" id="{AE9583AE-538B-3618-29B9-CDE4BE80C97C}"/>
              </a:ext>
            </a:extLst>
          </p:cNvPr>
          <p:cNvSpPr/>
          <p:nvPr/>
        </p:nvSpPr>
        <p:spPr>
          <a:xfrm>
            <a:off x="22739761" y="5927673"/>
            <a:ext cx="1922431" cy="57772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latin typeface="Arial"/>
                <a:cs typeface="Arial"/>
              </a:rPr>
              <a:t>Trailer Subscription Information</a:t>
            </a:r>
          </a:p>
        </p:txBody>
      </p:sp>
      <p:sp>
        <p:nvSpPr>
          <p:cNvPr id="72" name="Rectangle 71">
            <a:extLst>
              <a:ext uri="{FF2B5EF4-FFF2-40B4-BE49-F238E27FC236}">
                <a16:creationId xmlns:a16="http://schemas.microsoft.com/office/drawing/2014/main" id="{9807FF68-40AD-6D7D-73D6-693F025B4E5B}"/>
              </a:ext>
            </a:extLst>
          </p:cNvPr>
          <p:cNvSpPr/>
          <p:nvPr/>
        </p:nvSpPr>
        <p:spPr>
          <a:xfrm>
            <a:off x="22213142" y="3952403"/>
            <a:ext cx="4789126" cy="400110"/>
          </a:xfrm>
          <a:prstGeom prst="rect">
            <a:avLst/>
          </a:prstGeom>
        </p:spPr>
        <p:txBody>
          <a:bodyPr wrap="square" lIns="91440" tIns="45720" rIns="91440" bIns="45720" anchor="t">
            <a:spAutoFit/>
          </a:bodyPr>
          <a:lstStyle/>
          <a:p>
            <a:r>
              <a:rPr lang="en-US" sz="2000" b="1" i="1" dirty="0">
                <a:solidFill>
                  <a:schemeClr val="bg2">
                    <a:lumMod val="49000"/>
                  </a:schemeClr>
                </a:solidFill>
                <a:latin typeface="Times New Roman"/>
                <a:cs typeface="Arial"/>
              </a:rPr>
              <a:t>TOLL</a:t>
            </a:r>
            <a:endParaRPr lang="en-US" sz="2000" i="1">
              <a:solidFill>
                <a:schemeClr val="bg2">
                  <a:lumMod val="49000"/>
                </a:schemeClr>
              </a:solidFill>
              <a:latin typeface="Times New Roman"/>
              <a:cs typeface="Times New Roman"/>
            </a:endParaRPr>
          </a:p>
        </p:txBody>
      </p:sp>
      <p:sp>
        <p:nvSpPr>
          <p:cNvPr id="73" name="Rectangle 72">
            <a:extLst>
              <a:ext uri="{FF2B5EF4-FFF2-40B4-BE49-F238E27FC236}">
                <a16:creationId xmlns:a16="http://schemas.microsoft.com/office/drawing/2014/main" id="{FF6079B3-6092-12BE-4D31-2ED0069C0622}"/>
              </a:ext>
            </a:extLst>
          </p:cNvPr>
          <p:cNvSpPr/>
          <p:nvPr/>
        </p:nvSpPr>
        <p:spPr>
          <a:xfrm>
            <a:off x="22213142" y="6720647"/>
            <a:ext cx="4789126" cy="400110"/>
          </a:xfrm>
          <a:prstGeom prst="rect">
            <a:avLst/>
          </a:prstGeom>
        </p:spPr>
        <p:txBody>
          <a:bodyPr wrap="square" lIns="91440" tIns="45720" rIns="91440" bIns="45720" anchor="t">
            <a:spAutoFit/>
          </a:bodyPr>
          <a:lstStyle/>
          <a:p>
            <a:r>
              <a:rPr lang="en-US" sz="2000" b="1" i="1" dirty="0">
                <a:solidFill>
                  <a:schemeClr val="bg2">
                    <a:lumMod val="49000"/>
                  </a:schemeClr>
                </a:solidFill>
                <a:latin typeface="Times New Roman"/>
                <a:cs typeface="Arial"/>
              </a:rPr>
              <a:t>DAMAGE</a:t>
            </a:r>
            <a:endParaRPr lang="en-US" sz="2000" i="1">
              <a:solidFill>
                <a:schemeClr val="bg2">
                  <a:lumMod val="49000"/>
                </a:schemeClr>
              </a:solidFill>
              <a:latin typeface="Times New Roman"/>
              <a:cs typeface="Times New Roman"/>
            </a:endParaRPr>
          </a:p>
        </p:txBody>
      </p:sp>
      <p:sp>
        <p:nvSpPr>
          <p:cNvPr id="74" name="Isosceles Triangle 73">
            <a:extLst>
              <a:ext uri="{FF2B5EF4-FFF2-40B4-BE49-F238E27FC236}">
                <a16:creationId xmlns:a16="http://schemas.microsoft.com/office/drawing/2014/main" id="{23773AD4-4BCC-4571-F935-1E598E73666F}"/>
              </a:ext>
            </a:extLst>
          </p:cNvPr>
          <p:cNvSpPr/>
          <p:nvPr/>
        </p:nvSpPr>
        <p:spPr>
          <a:xfrm>
            <a:off x="23460196" y="14178588"/>
            <a:ext cx="3882134" cy="157452"/>
          </a:xfrm>
          <a:prstGeom prst="triangle">
            <a:avLst/>
          </a:prstGeom>
          <a:solidFill>
            <a:schemeClr val="bg2">
              <a:lumMod val="20000"/>
              <a:lumOff val="80000"/>
            </a:schemeClr>
          </a:solidFill>
          <a:ln>
            <a:noFill/>
          </a:ln>
          <a:effectLst>
            <a:outerShdw blurRad="63500" dist="38100" dir="2700000">
              <a:srgbClr val="000000">
                <a:alpha val="40000"/>
              </a:srgbClr>
            </a:outerShdw>
            <a:reflection stA="40000" endPos="54000" dist="508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08" name="Rectangle: Rounded Corners 107">
            <a:extLst>
              <a:ext uri="{FF2B5EF4-FFF2-40B4-BE49-F238E27FC236}">
                <a16:creationId xmlns:a16="http://schemas.microsoft.com/office/drawing/2014/main" id="{5F9CD371-BC54-E9F1-0C34-23CCCCC86E9B}"/>
              </a:ext>
            </a:extLst>
          </p:cNvPr>
          <p:cNvSpPr/>
          <p:nvPr/>
        </p:nvSpPr>
        <p:spPr>
          <a:xfrm>
            <a:off x="25320940" y="11252118"/>
            <a:ext cx="2078246"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Look for previous 'n' customers who subscribed to the particular trailer</a:t>
            </a:r>
            <a:endParaRPr lang="en-US" dirty="0">
              <a:solidFill>
                <a:srgbClr val="000000"/>
              </a:solidFill>
            </a:endParaRPr>
          </a:p>
        </p:txBody>
      </p:sp>
      <p:sp>
        <p:nvSpPr>
          <p:cNvPr id="110" name="Rectangle: Rounded Corners 109">
            <a:extLst>
              <a:ext uri="{FF2B5EF4-FFF2-40B4-BE49-F238E27FC236}">
                <a16:creationId xmlns:a16="http://schemas.microsoft.com/office/drawing/2014/main" id="{F3D54D72-FD66-3004-DCF0-9F5B7F0C18B1}"/>
              </a:ext>
            </a:extLst>
          </p:cNvPr>
          <p:cNvSpPr/>
          <p:nvPr/>
        </p:nvSpPr>
        <p:spPr>
          <a:xfrm>
            <a:off x="28559011" y="8262800"/>
            <a:ext cx="1823373" cy="709171"/>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Retrieve previous inspection report without the detected damage</a:t>
            </a:r>
          </a:p>
        </p:txBody>
      </p:sp>
      <p:cxnSp>
        <p:nvCxnSpPr>
          <p:cNvPr id="112" name="Straight Arrow Connector 111">
            <a:extLst>
              <a:ext uri="{FF2B5EF4-FFF2-40B4-BE49-F238E27FC236}">
                <a16:creationId xmlns:a16="http://schemas.microsoft.com/office/drawing/2014/main" id="{2178A5C8-E324-F625-38D1-8C9FB8ADF2A5}"/>
              </a:ext>
            </a:extLst>
          </p:cNvPr>
          <p:cNvCxnSpPr>
            <a:cxnSpLocks/>
          </p:cNvCxnSpPr>
          <p:nvPr/>
        </p:nvCxnSpPr>
        <p:spPr>
          <a:xfrm flipV="1">
            <a:off x="25159457" y="8058660"/>
            <a:ext cx="685538" cy="434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1CEFB074-97B0-8330-A0BC-FC17761BF0A7}"/>
              </a:ext>
            </a:extLst>
          </p:cNvPr>
          <p:cNvCxnSpPr>
            <a:cxnSpLocks/>
          </p:cNvCxnSpPr>
          <p:nvPr/>
        </p:nvCxnSpPr>
        <p:spPr>
          <a:xfrm>
            <a:off x="27563733" y="8242683"/>
            <a:ext cx="625692" cy="16728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5" name="Rectangle: Rounded Corners 114">
            <a:extLst>
              <a:ext uri="{FF2B5EF4-FFF2-40B4-BE49-F238E27FC236}">
                <a16:creationId xmlns:a16="http://schemas.microsoft.com/office/drawing/2014/main" id="{32A40A3D-F439-D03C-B23C-8B8B5E88E26D}"/>
              </a:ext>
            </a:extLst>
          </p:cNvPr>
          <p:cNvSpPr/>
          <p:nvPr/>
        </p:nvSpPr>
        <p:spPr>
          <a:xfrm>
            <a:off x="23347397" y="7774706"/>
            <a:ext cx="1712881" cy="57772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a:solidFill>
                  <a:srgbClr val="000000"/>
                </a:solidFill>
                <a:cs typeface="Times"/>
              </a:rPr>
              <a:t>Read Report</a:t>
            </a:r>
            <a:endParaRPr lang="en-US" sz="1200" dirty="0">
              <a:solidFill>
                <a:srgbClr val="000000"/>
              </a:solidFill>
              <a:cs typeface="Times"/>
            </a:endParaRPr>
          </a:p>
        </p:txBody>
      </p:sp>
      <p:sp>
        <p:nvSpPr>
          <p:cNvPr id="116" name="Diamond 115">
            <a:extLst>
              <a:ext uri="{FF2B5EF4-FFF2-40B4-BE49-F238E27FC236}">
                <a16:creationId xmlns:a16="http://schemas.microsoft.com/office/drawing/2014/main" id="{8CE29497-ED4E-CE2F-3098-2FA6BDCB4B76}"/>
              </a:ext>
            </a:extLst>
          </p:cNvPr>
          <p:cNvSpPr/>
          <p:nvPr/>
        </p:nvSpPr>
        <p:spPr>
          <a:xfrm>
            <a:off x="25334829" y="12312793"/>
            <a:ext cx="2054250" cy="999600"/>
          </a:xfrm>
          <a:prstGeom prst="diamond">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Any customers found?</a:t>
            </a:r>
            <a:endParaRPr lang="en-US" dirty="0">
              <a:solidFill>
                <a:srgbClr val="000000"/>
              </a:solidFill>
            </a:endParaRPr>
          </a:p>
        </p:txBody>
      </p:sp>
      <p:sp>
        <p:nvSpPr>
          <p:cNvPr id="117" name="Rectangle: Rounded Corners 116">
            <a:extLst>
              <a:ext uri="{FF2B5EF4-FFF2-40B4-BE49-F238E27FC236}">
                <a16:creationId xmlns:a16="http://schemas.microsoft.com/office/drawing/2014/main" id="{DF75B8ED-1FDC-77C8-0378-E1DD56DADB48}"/>
              </a:ext>
            </a:extLst>
          </p:cNvPr>
          <p:cNvSpPr/>
          <p:nvPr/>
        </p:nvSpPr>
        <p:spPr>
          <a:xfrm>
            <a:off x="26700448" y="13525234"/>
            <a:ext cx="2189131" cy="59677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ea typeface="+mn-lt"/>
                <a:cs typeface="+mn-lt"/>
              </a:rPr>
              <a:t>No data available</a:t>
            </a:r>
            <a:endParaRPr lang="en-US" dirty="0">
              <a:solidFill>
                <a:srgbClr val="000000"/>
              </a:solidFill>
              <a:ea typeface="+mn-lt"/>
              <a:cs typeface="+mn-lt"/>
            </a:endParaRPr>
          </a:p>
          <a:p>
            <a:pPr algn="ctr"/>
            <a:r>
              <a:rPr lang="en-US" sz="1200" dirty="0">
                <a:solidFill>
                  <a:srgbClr val="000000"/>
                </a:solidFill>
                <a:ea typeface="+mn-lt"/>
                <a:cs typeface="+mn-lt"/>
              </a:rPr>
              <a:t>Manual review required</a:t>
            </a:r>
            <a:endParaRPr lang="en-US" dirty="0">
              <a:solidFill>
                <a:srgbClr val="000000"/>
              </a:solidFill>
            </a:endParaRPr>
          </a:p>
        </p:txBody>
      </p:sp>
      <p:sp>
        <p:nvSpPr>
          <p:cNvPr id="118" name="Rectangle: Rounded Corners 117">
            <a:extLst>
              <a:ext uri="{FF2B5EF4-FFF2-40B4-BE49-F238E27FC236}">
                <a16:creationId xmlns:a16="http://schemas.microsoft.com/office/drawing/2014/main" id="{C21416C2-1691-8A77-F9A8-A581F86E3E46}"/>
              </a:ext>
            </a:extLst>
          </p:cNvPr>
          <p:cNvSpPr/>
          <p:nvPr/>
        </p:nvSpPr>
        <p:spPr>
          <a:xfrm>
            <a:off x="22893684" y="11252118"/>
            <a:ext cx="1858273"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Find all trips in between the two reports using telematics data</a:t>
            </a:r>
          </a:p>
        </p:txBody>
      </p:sp>
      <p:sp>
        <p:nvSpPr>
          <p:cNvPr id="120" name="Rectangle: Rounded Corners 119">
            <a:extLst>
              <a:ext uri="{FF2B5EF4-FFF2-40B4-BE49-F238E27FC236}">
                <a16:creationId xmlns:a16="http://schemas.microsoft.com/office/drawing/2014/main" id="{82F43608-A3CA-728D-9D6C-132775FBD31B}"/>
              </a:ext>
            </a:extLst>
          </p:cNvPr>
          <p:cNvSpPr/>
          <p:nvPr/>
        </p:nvSpPr>
        <p:spPr>
          <a:xfrm>
            <a:off x="22297381" y="13497142"/>
            <a:ext cx="2065306" cy="59677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Assign Responsibility to customer</a:t>
            </a:r>
            <a:endParaRPr lang="en-US" dirty="0">
              <a:solidFill>
                <a:srgbClr val="000000"/>
              </a:solidFill>
            </a:endParaRPr>
          </a:p>
        </p:txBody>
      </p:sp>
      <p:sp>
        <p:nvSpPr>
          <p:cNvPr id="121" name="Rectangle: Rounded Corners 120">
            <a:extLst>
              <a:ext uri="{FF2B5EF4-FFF2-40B4-BE49-F238E27FC236}">
                <a16:creationId xmlns:a16="http://schemas.microsoft.com/office/drawing/2014/main" id="{6F45470B-02D5-C984-EF5F-E88CC049177E}"/>
              </a:ext>
            </a:extLst>
          </p:cNvPr>
          <p:cNvSpPr/>
          <p:nvPr/>
        </p:nvSpPr>
        <p:spPr>
          <a:xfrm>
            <a:off x="24505923" y="13523024"/>
            <a:ext cx="2065306" cy="596776"/>
          </a:xfrm>
          <a:prstGeom prst="roundRect">
            <a:avLst/>
          </a:prstGeom>
          <a:solidFill>
            <a:srgbClr val="C4BD9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List suspicious customers</a:t>
            </a:r>
            <a:endParaRPr lang="en-US" dirty="0">
              <a:solidFill>
                <a:srgbClr val="000000"/>
              </a:solidFill>
            </a:endParaRPr>
          </a:p>
        </p:txBody>
      </p:sp>
      <p:cxnSp>
        <p:nvCxnSpPr>
          <p:cNvPr id="122" name="Straight Arrow Connector 121">
            <a:extLst>
              <a:ext uri="{FF2B5EF4-FFF2-40B4-BE49-F238E27FC236}">
                <a16:creationId xmlns:a16="http://schemas.microsoft.com/office/drawing/2014/main" id="{A43F274B-1BBF-5AF7-AF43-4922E1D2D12D}"/>
              </a:ext>
            </a:extLst>
          </p:cNvPr>
          <p:cNvCxnSpPr>
            <a:cxnSpLocks/>
          </p:cNvCxnSpPr>
          <p:nvPr/>
        </p:nvCxnSpPr>
        <p:spPr>
          <a:xfrm flipH="1">
            <a:off x="24015925" y="10877036"/>
            <a:ext cx="714637" cy="31734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Diamond 110">
            <a:extLst>
              <a:ext uri="{FF2B5EF4-FFF2-40B4-BE49-F238E27FC236}">
                <a16:creationId xmlns:a16="http://schemas.microsoft.com/office/drawing/2014/main" id="{E33F8D31-1F00-A21D-DFCF-C82792BD371A}"/>
              </a:ext>
            </a:extLst>
          </p:cNvPr>
          <p:cNvSpPr/>
          <p:nvPr/>
        </p:nvSpPr>
        <p:spPr>
          <a:xfrm>
            <a:off x="25911665" y="7614984"/>
            <a:ext cx="1860156" cy="883145"/>
          </a:xfrm>
          <a:prstGeom prst="diamond">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If </a:t>
            </a:r>
            <a:r>
              <a:rPr lang="en-US" sz="1200">
                <a:solidFill>
                  <a:srgbClr val="000000"/>
                </a:solidFill>
              </a:rPr>
              <a:t>there is damage</a:t>
            </a:r>
            <a:r>
              <a:rPr lang="en-US" sz="1200" dirty="0">
                <a:solidFill>
                  <a:srgbClr val="000000"/>
                </a:solidFill>
              </a:rPr>
              <a:t>?</a:t>
            </a:r>
            <a:endParaRPr lang="en-US" sz="1200">
              <a:solidFill>
                <a:srgbClr val="000000"/>
              </a:solidFill>
              <a:cs typeface="Times"/>
            </a:endParaRPr>
          </a:p>
        </p:txBody>
      </p:sp>
      <p:cxnSp>
        <p:nvCxnSpPr>
          <p:cNvPr id="123" name="Straight Arrow Connector 122">
            <a:extLst>
              <a:ext uri="{FF2B5EF4-FFF2-40B4-BE49-F238E27FC236}">
                <a16:creationId xmlns:a16="http://schemas.microsoft.com/office/drawing/2014/main" id="{A226F3B4-3E5B-9EB5-A697-653155E749D2}"/>
              </a:ext>
            </a:extLst>
          </p:cNvPr>
          <p:cNvCxnSpPr>
            <a:cxnSpLocks/>
          </p:cNvCxnSpPr>
          <p:nvPr/>
        </p:nvCxnSpPr>
        <p:spPr>
          <a:xfrm>
            <a:off x="26350396" y="11967140"/>
            <a:ext cx="996" cy="30782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02967B38-32C4-4EE6-F8FA-AD45A41A0987}"/>
              </a:ext>
            </a:extLst>
          </p:cNvPr>
          <p:cNvCxnSpPr>
            <a:cxnSpLocks/>
          </p:cNvCxnSpPr>
          <p:nvPr/>
        </p:nvCxnSpPr>
        <p:spPr>
          <a:xfrm>
            <a:off x="25488798" y="10879795"/>
            <a:ext cx="720046" cy="30171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96">
            <a:extLst>
              <a:ext uri="{FF2B5EF4-FFF2-40B4-BE49-F238E27FC236}">
                <a16:creationId xmlns:a16="http://schemas.microsoft.com/office/drawing/2014/main" id="{D531C02E-2D87-AC29-359A-D5D769672148}"/>
              </a:ext>
            </a:extLst>
          </p:cNvPr>
          <p:cNvSpPr txBox="1"/>
          <p:nvPr/>
        </p:nvSpPr>
        <p:spPr>
          <a:xfrm>
            <a:off x="24160433" y="10774048"/>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dirty="0">
              <a:solidFill>
                <a:srgbClr val="000000"/>
              </a:solidFill>
            </a:endParaRPr>
          </a:p>
        </p:txBody>
      </p:sp>
      <p:sp>
        <p:nvSpPr>
          <p:cNvPr id="130" name="TextBox 97">
            <a:extLst>
              <a:ext uri="{FF2B5EF4-FFF2-40B4-BE49-F238E27FC236}">
                <a16:creationId xmlns:a16="http://schemas.microsoft.com/office/drawing/2014/main" id="{9B29B55A-76F5-AC0E-AEB6-A6BEB61C5662}"/>
              </a:ext>
            </a:extLst>
          </p:cNvPr>
          <p:cNvSpPr txBox="1"/>
          <p:nvPr/>
        </p:nvSpPr>
        <p:spPr>
          <a:xfrm>
            <a:off x="22823409" y="12972704"/>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dirty="0">
              <a:solidFill>
                <a:srgbClr val="000000"/>
              </a:solidFill>
            </a:endParaRPr>
          </a:p>
        </p:txBody>
      </p:sp>
      <p:sp>
        <p:nvSpPr>
          <p:cNvPr id="131" name="TextBox 98">
            <a:extLst>
              <a:ext uri="{FF2B5EF4-FFF2-40B4-BE49-F238E27FC236}">
                <a16:creationId xmlns:a16="http://schemas.microsoft.com/office/drawing/2014/main" id="{73E8966A-D96D-1A49-9313-52FC6BA21863}"/>
              </a:ext>
            </a:extLst>
          </p:cNvPr>
          <p:cNvSpPr txBox="1"/>
          <p:nvPr/>
        </p:nvSpPr>
        <p:spPr>
          <a:xfrm>
            <a:off x="25319964" y="12984385"/>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a:solidFill>
                <a:srgbClr val="000000"/>
              </a:solidFill>
            </a:endParaRPr>
          </a:p>
        </p:txBody>
      </p:sp>
      <p:sp>
        <p:nvSpPr>
          <p:cNvPr id="132" name="TextBox 99">
            <a:extLst>
              <a:ext uri="{FF2B5EF4-FFF2-40B4-BE49-F238E27FC236}">
                <a16:creationId xmlns:a16="http://schemas.microsoft.com/office/drawing/2014/main" id="{DEF8657F-1D10-58DE-ACE4-71EA40DFC4BD}"/>
              </a:ext>
            </a:extLst>
          </p:cNvPr>
          <p:cNvSpPr txBox="1"/>
          <p:nvPr/>
        </p:nvSpPr>
        <p:spPr>
          <a:xfrm>
            <a:off x="27222450" y="12908959"/>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dirty="0">
              <a:solidFill>
                <a:srgbClr val="000000"/>
              </a:solidFill>
            </a:endParaRPr>
          </a:p>
        </p:txBody>
      </p:sp>
      <p:sp>
        <p:nvSpPr>
          <p:cNvPr id="133" name="TextBox 100">
            <a:extLst>
              <a:ext uri="{FF2B5EF4-FFF2-40B4-BE49-F238E27FC236}">
                <a16:creationId xmlns:a16="http://schemas.microsoft.com/office/drawing/2014/main" id="{F7F34F64-9191-936B-30E3-77E4ED8D5E47}"/>
              </a:ext>
            </a:extLst>
          </p:cNvPr>
          <p:cNvSpPr txBox="1"/>
          <p:nvPr/>
        </p:nvSpPr>
        <p:spPr>
          <a:xfrm>
            <a:off x="24696349" y="12997324"/>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dirty="0">
              <a:solidFill>
                <a:srgbClr val="000000"/>
              </a:solidFill>
            </a:endParaRPr>
          </a:p>
        </p:txBody>
      </p:sp>
      <p:sp>
        <p:nvSpPr>
          <p:cNvPr id="134" name="TextBox 101">
            <a:extLst>
              <a:ext uri="{FF2B5EF4-FFF2-40B4-BE49-F238E27FC236}">
                <a16:creationId xmlns:a16="http://schemas.microsoft.com/office/drawing/2014/main" id="{61C4EE9F-F4FF-E8FB-1A62-BEA2C00FC39C}"/>
              </a:ext>
            </a:extLst>
          </p:cNvPr>
          <p:cNvSpPr txBox="1"/>
          <p:nvPr/>
        </p:nvSpPr>
        <p:spPr>
          <a:xfrm>
            <a:off x="25808976" y="10743315"/>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dirty="0">
              <a:solidFill>
                <a:srgbClr val="000000"/>
              </a:solidFill>
            </a:endParaRPr>
          </a:p>
        </p:txBody>
      </p:sp>
      <p:pic>
        <p:nvPicPr>
          <p:cNvPr id="6" name="Picture 5" descr="A red truck with a trailer&#10;&#10;AI-generated content may be incorrect.">
            <a:extLst>
              <a:ext uri="{FF2B5EF4-FFF2-40B4-BE49-F238E27FC236}">
                <a16:creationId xmlns:a16="http://schemas.microsoft.com/office/drawing/2014/main" id="{429D241D-00A4-D931-4100-2A691B520861}"/>
              </a:ext>
            </a:extLst>
          </p:cNvPr>
          <p:cNvPicPr>
            <a:picLocks noChangeAspect="1"/>
          </p:cNvPicPr>
          <p:nvPr/>
        </p:nvPicPr>
        <p:blipFill>
          <a:blip r:embed="rId4"/>
          <a:stretch>
            <a:fillRect/>
          </a:stretch>
        </p:blipFill>
        <p:spPr>
          <a:xfrm>
            <a:off x="11394594" y="4471178"/>
            <a:ext cx="3217572" cy="3228305"/>
          </a:xfrm>
          <a:prstGeom prst="rect">
            <a:avLst/>
          </a:prstGeom>
        </p:spPr>
      </p:pic>
      <p:pic>
        <p:nvPicPr>
          <p:cNvPr id="19" name="Picture 18" descr="A logo of a wifi signal&#10;&#10;AI-generated content may be incorrect.">
            <a:extLst>
              <a:ext uri="{FF2B5EF4-FFF2-40B4-BE49-F238E27FC236}">
                <a16:creationId xmlns:a16="http://schemas.microsoft.com/office/drawing/2014/main" id="{73BE328D-0DD5-1C51-50E2-279F4CEF8C2E}"/>
              </a:ext>
            </a:extLst>
          </p:cNvPr>
          <p:cNvPicPr>
            <a:picLocks noChangeAspect="1"/>
          </p:cNvPicPr>
          <p:nvPr/>
        </p:nvPicPr>
        <p:blipFill>
          <a:blip r:embed="rId5"/>
          <a:stretch>
            <a:fillRect/>
          </a:stretch>
        </p:blipFill>
        <p:spPr>
          <a:xfrm>
            <a:off x="13539515" y="4574211"/>
            <a:ext cx="914402" cy="927280"/>
          </a:xfrm>
          <a:prstGeom prst="rect">
            <a:avLst/>
          </a:prstGeom>
        </p:spPr>
      </p:pic>
      <p:pic>
        <p:nvPicPr>
          <p:cNvPr id="20" name="Picture 19" descr="A brain and light bulb with a gear&#10;&#10;AI-generated content may be incorrect.">
            <a:extLst>
              <a:ext uri="{FF2B5EF4-FFF2-40B4-BE49-F238E27FC236}">
                <a16:creationId xmlns:a16="http://schemas.microsoft.com/office/drawing/2014/main" id="{EFDEF58B-2F14-653C-EBBD-E3D5CEDFA33B}"/>
              </a:ext>
            </a:extLst>
          </p:cNvPr>
          <p:cNvPicPr>
            <a:picLocks noChangeAspect="1"/>
          </p:cNvPicPr>
          <p:nvPr/>
        </p:nvPicPr>
        <p:blipFill>
          <a:blip r:embed="rId6"/>
          <a:stretch>
            <a:fillRect/>
          </a:stretch>
        </p:blipFill>
        <p:spPr>
          <a:xfrm>
            <a:off x="14990899" y="5776239"/>
            <a:ext cx="914401" cy="927279"/>
          </a:xfrm>
          <a:prstGeom prst="rect">
            <a:avLst/>
          </a:prstGeom>
        </p:spPr>
      </p:pic>
      <p:pic>
        <p:nvPicPr>
          <p:cNvPr id="21" name="Picture 20" descr="A handshake with a dollar sign&#10;&#10;AI-generated content may be incorrect.">
            <a:extLst>
              <a:ext uri="{FF2B5EF4-FFF2-40B4-BE49-F238E27FC236}">
                <a16:creationId xmlns:a16="http://schemas.microsoft.com/office/drawing/2014/main" id="{8040DEF8-8246-B483-12D7-5D85A68BF228}"/>
              </a:ext>
            </a:extLst>
          </p:cNvPr>
          <p:cNvPicPr>
            <a:picLocks noChangeAspect="1"/>
          </p:cNvPicPr>
          <p:nvPr/>
        </p:nvPicPr>
        <p:blipFill>
          <a:blip r:embed="rId7"/>
          <a:stretch>
            <a:fillRect/>
          </a:stretch>
        </p:blipFill>
        <p:spPr>
          <a:xfrm>
            <a:off x="16226785" y="5810582"/>
            <a:ext cx="914401" cy="858593"/>
          </a:xfrm>
          <a:prstGeom prst="rect">
            <a:avLst/>
          </a:prstGeom>
        </p:spPr>
      </p:pic>
      <p:pic>
        <p:nvPicPr>
          <p:cNvPr id="3" name="Picture 2" descr="A magnifying glass and a picture of a person&#10;&#10;AI-generated content may be incorrect.">
            <a:extLst>
              <a:ext uri="{FF2B5EF4-FFF2-40B4-BE49-F238E27FC236}">
                <a16:creationId xmlns:a16="http://schemas.microsoft.com/office/drawing/2014/main" id="{68A90817-9D83-A6B6-D4FA-5C9EDE038735}"/>
              </a:ext>
            </a:extLst>
          </p:cNvPr>
          <p:cNvPicPr>
            <a:picLocks noChangeAspect="1"/>
          </p:cNvPicPr>
          <p:nvPr/>
        </p:nvPicPr>
        <p:blipFill>
          <a:blip r:embed="rId8"/>
          <a:stretch>
            <a:fillRect/>
          </a:stretch>
        </p:blipFill>
        <p:spPr>
          <a:xfrm>
            <a:off x="17440095" y="5187942"/>
            <a:ext cx="1813558" cy="1836419"/>
          </a:xfrm>
          <a:prstGeom prst="rect">
            <a:avLst/>
          </a:prstGeom>
        </p:spPr>
      </p:pic>
      <p:sp>
        <p:nvSpPr>
          <p:cNvPr id="8" name="Diamond 7">
            <a:extLst>
              <a:ext uri="{FF2B5EF4-FFF2-40B4-BE49-F238E27FC236}">
                <a16:creationId xmlns:a16="http://schemas.microsoft.com/office/drawing/2014/main" id="{DB92D537-8BFF-9DD3-56D8-5C5FF30C6F28}"/>
              </a:ext>
            </a:extLst>
          </p:cNvPr>
          <p:cNvSpPr/>
          <p:nvPr/>
        </p:nvSpPr>
        <p:spPr>
          <a:xfrm>
            <a:off x="22962494" y="12307617"/>
            <a:ext cx="2054250" cy="999600"/>
          </a:xfrm>
          <a:prstGeom prst="diamond">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 </a:t>
            </a:r>
            <a:r>
              <a:rPr lang="en-US" sz="1200" dirty="0">
                <a:solidFill>
                  <a:srgbClr val="000000"/>
                </a:solidFill>
                <a:ea typeface="+mn-lt"/>
                <a:cs typeface="+mn-lt"/>
              </a:rPr>
              <a:t>Only one customer picked trailer?</a:t>
            </a:r>
            <a:endParaRPr lang="en-US" dirty="0">
              <a:solidFill>
                <a:srgbClr val="000000"/>
              </a:solidFill>
            </a:endParaRPr>
          </a:p>
        </p:txBody>
      </p:sp>
      <p:sp>
        <p:nvSpPr>
          <p:cNvPr id="17" name="Rectangle 16">
            <a:extLst>
              <a:ext uri="{FF2B5EF4-FFF2-40B4-BE49-F238E27FC236}">
                <a16:creationId xmlns:a16="http://schemas.microsoft.com/office/drawing/2014/main" id="{2349C947-8C06-01CB-5BD8-8A5503C1443A}"/>
              </a:ext>
            </a:extLst>
          </p:cNvPr>
          <p:cNvSpPr/>
          <p:nvPr/>
        </p:nvSpPr>
        <p:spPr bwMode="auto">
          <a:xfrm>
            <a:off x="821118" y="18039777"/>
            <a:ext cx="2426612" cy="743843"/>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Large Carriers</a:t>
            </a:r>
            <a:endParaRPr lang="en-US" sz="1800" b="0" i="0" u="none" strike="noStrike" cap="none" normalizeH="0" baseline="0">
              <a:ln>
                <a:noFill/>
              </a:ln>
              <a:effectLst/>
              <a:latin typeface="Times" charset="0"/>
              <a:cs typeface="Times"/>
            </a:endParaRPr>
          </a:p>
        </p:txBody>
      </p:sp>
      <p:sp>
        <p:nvSpPr>
          <p:cNvPr id="29" name="Rectangle 28">
            <a:extLst>
              <a:ext uri="{FF2B5EF4-FFF2-40B4-BE49-F238E27FC236}">
                <a16:creationId xmlns:a16="http://schemas.microsoft.com/office/drawing/2014/main" id="{A3888C01-6EB5-5EDB-54B3-84C0F4A8579B}"/>
              </a:ext>
            </a:extLst>
          </p:cNvPr>
          <p:cNvSpPr/>
          <p:nvPr/>
        </p:nvSpPr>
        <p:spPr bwMode="auto">
          <a:xfrm>
            <a:off x="4061964" y="17020496"/>
            <a:ext cx="1871387" cy="702085"/>
          </a:xfrm>
          <a:prstGeom prst="rect">
            <a:avLst/>
          </a:prstGeom>
          <a:no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r>
              <a:rPr lang="en-US" sz="1800" dirty="0">
                <a:latin typeface="Times"/>
                <a:cs typeface="Times"/>
              </a:rPr>
              <a:t>Mid-Sized Carriers</a:t>
            </a:r>
            <a:endParaRPr lang="en-US" sz="1800" b="0" i="0" u="none" strike="noStrike" cap="none" normalizeH="0" baseline="0">
              <a:ln>
                <a:noFill/>
              </a:ln>
              <a:effectLst/>
              <a:cs typeface="Times"/>
            </a:endParaRPr>
          </a:p>
        </p:txBody>
      </p:sp>
      <p:pic>
        <p:nvPicPr>
          <p:cNvPr id="16" name="Picture 15" descr="A group of trucks silhouettes&#10;&#10;AI-generated content may be incorrect.">
            <a:extLst>
              <a:ext uri="{FF2B5EF4-FFF2-40B4-BE49-F238E27FC236}">
                <a16:creationId xmlns:a16="http://schemas.microsoft.com/office/drawing/2014/main" id="{D58D6980-856E-7D78-BA25-FB6D9687194F}"/>
              </a:ext>
            </a:extLst>
          </p:cNvPr>
          <p:cNvPicPr>
            <a:picLocks noChangeAspect="1"/>
          </p:cNvPicPr>
          <p:nvPr/>
        </p:nvPicPr>
        <p:blipFill>
          <a:blip r:embed="rId9"/>
          <a:stretch>
            <a:fillRect/>
          </a:stretch>
        </p:blipFill>
        <p:spPr>
          <a:xfrm>
            <a:off x="775001" y="16021911"/>
            <a:ext cx="1171759" cy="1930469"/>
          </a:xfrm>
          <a:prstGeom prst="rect">
            <a:avLst/>
          </a:prstGeom>
        </p:spPr>
      </p:pic>
      <p:pic>
        <p:nvPicPr>
          <p:cNvPr id="30" name="Picture 29" descr="A silhouette of a truck&#10;&#10;AI-generated content may be incorrect.">
            <a:extLst>
              <a:ext uri="{FF2B5EF4-FFF2-40B4-BE49-F238E27FC236}">
                <a16:creationId xmlns:a16="http://schemas.microsoft.com/office/drawing/2014/main" id="{947A582F-27C0-AA2E-8FAA-A52539962E2B}"/>
              </a:ext>
            </a:extLst>
          </p:cNvPr>
          <p:cNvPicPr>
            <a:picLocks noChangeAspect="1"/>
          </p:cNvPicPr>
          <p:nvPr/>
        </p:nvPicPr>
        <p:blipFill>
          <a:blip r:embed="rId10"/>
          <a:stretch>
            <a:fillRect/>
          </a:stretch>
        </p:blipFill>
        <p:spPr>
          <a:xfrm>
            <a:off x="4547137" y="17817590"/>
            <a:ext cx="895071" cy="680573"/>
          </a:xfrm>
          <a:prstGeom prst="rect">
            <a:avLst/>
          </a:prstGeom>
        </p:spPr>
      </p:pic>
      <p:pic>
        <p:nvPicPr>
          <p:cNvPr id="28" name="Picture 27" descr="A silhouette of a truck&#10;&#10;AI-generated content may be incorrect.">
            <a:extLst>
              <a:ext uri="{FF2B5EF4-FFF2-40B4-BE49-F238E27FC236}">
                <a16:creationId xmlns:a16="http://schemas.microsoft.com/office/drawing/2014/main" id="{E3CB94C0-45DB-BC0A-2B8C-B7A7E87C4CAF}"/>
              </a:ext>
            </a:extLst>
          </p:cNvPr>
          <p:cNvPicPr>
            <a:picLocks noChangeAspect="1"/>
          </p:cNvPicPr>
          <p:nvPr/>
        </p:nvPicPr>
        <p:blipFill>
          <a:blip r:embed="rId11"/>
          <a:stretch>
            <a:fillRect/>
          </a:stretch>
        </p:blipFill>
        <p:spPr>
          <a:xfrm>
            <a:off x="4467523" y="15785589"/>
            <a:ext cx="988137" cy="1131202"/>
          </a:xfrm>
          <a:prstGeom prst="rect">
            <a:avLst/>
          </a:prstGeom>
        </p:spPr>
      </p:pic>
      <p:sp>
        <p:nvSpPr>
          <p:cNvPr id="31" name="Rectangle 30">
            <a:extLst>
              <a:ext uri="{FF2B5EF4-FFF2-40B4-BE49-F238E27FC236}">
                <a16:creationId xmlns:a16="http://schemas.microsoft.com/office/drawing/2014/main" id="{4A62D3D4-5E79-2DDA-2122-418EE27D592A}"/>
              </a:ext>
            </a:extLst>
          </p:cNvPr>
          <p:cNvSpPr/>
          <p:nvPr/>
        </p:nvSpPr>
        <p:spPr bwMode="auto">
          <a:xfrm>
            <a:off x="3607279" y="18586424"/>
            <a:ext cx="2751282" cy="715025"/>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r>
              <a:rPr lang="en-US" sz="1800" dirty="0">
                <a:latin typeface="Times"/>
                <a:cs typeface="Times"/>
              </a:rPr>
              <a:t>Small Carriers</a:t>
            </a:r>
            <a:endParaRPr lang="en-US" sz="1800" b="0" i="0" u="none" strike="noStrike" cap="none" normalizeH="0" baseline="0">
              <a:ln>
                <a:noFill/>
              </a:ln>
              <a:effectLst/>
              <a:cs typeface="Times"/>
            </a:endParaRPr>
          </a:p>
        </p:txBody>
      </p:sp>
      <p:sp>
        <p:nvSpPr>
          <p:cNvPr id="36" name="Rectangle 35">
            <a:extLst>
              <a:ext uri="{FF2B5EF4-FFF2-40B4-BE49-F238E27FC236}">
                <a16:creationId xmlns:a16="http://schemas.microsoft.com/office/drawing/2014/main" id="{8D196CCE-88E4-E9E0-6C1E-370B829EA2E9}"/>
              </a:ext>
            </a:extLst>
          </p:cNvPr>
          <p:cNvSpPr/>
          <p:nvPr/>
        </p:nvSpPr>
        <p:spPr bwMode="auto">
          <a:xfrm>
            <a:off x="7837921" y="16698056"/>
            <a:ext cx="1804085" cy="681454"/>
          </a:xfrm>
          <a:prstGeom prst="rect">
            <a:avLst/>
          </a:prstGeom>
          <a:no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Independent </a:t>
            </a:r>
            <a:endParaRPr lang="en-US" sz="1800">
              <a:cs typeface="Times"/>
            </a:endParaRPr>
          </a:p>
          <a:p>
            <a:r>
              <a:rPr lang="en-US" sz="1800" dirty="0">
                <a:latin typeface="Times"/>
                <a:cs typeface="Times"/>
              </a:rPr>
              <a:t>Contractors</a:t>
            </a:r>
            <a:endParaRPr lang="en-US" sz="1800" b="0" i="0" u="none" strike="noStrike" cap="none" normalizeH="0" baseline="0" dirty="0">
              <a:ln>
                <a:noFill/>
              </a:ln>
              <a:effectLst/>
              <a:cs typeface="Times"/>
            </a:endParaRPr>
          </a:p>
        </p:txBody>
      </p:sp>
      <p:pic>
        <p:nvPicPr>
          <p:cNvPr id="37" name="Picture 36" descr="A black steering wheel with a white center&#10;&#10;AI-generated content may be incorrect.">
            <a:extLst>
              <a:ext uri="{FF2B5EF4-FFF2-40B4-BE49-F238E27FC236}">
                <a16:creationId xmlns:a16="http://schemas.microsoft.com/office/drawing/2014/main" id="{F0A87DEA-1EA4-CCF6-6FB4-DCBBA786942A}"/>
              </a:ext>
            </a:extLst>
          </p:cNvPr>
          <p:cNvPicPr>
            <a:picLocks noChangeAspect="1"/>
          </p:cNvPicPr>
          <p:nvPr/>
        </p:nvPicPr>
        <p:blipFill>
          <a:blip r:embed="rId12"/>
          <a:stretch>
            <a:fillRect/>
          </a:stretch>
        </p:blipFill>
        <p:spPr>
          <a:xfrm>
            <a:off x="8189540" y="17370040"/>
            <a:ext cx="877653" cy="961076"/>
          </a:xfrm>
          <a:prstGeom prst="rect">
            <a:avLst/>
          </a:prstGeom>
        </p:spPr>
      </p:pic>
      <p:sp>
        <p:nvSpPr>
          <p:cNvPr id="32" name="Arrow: Right 31">
            <a:extLst>
              <a:ext uri="{FF2B5EF4-FFF2-40B4-BE49-F238E27FC236}">
                <a16:creationId xmlns:a16="http://schemas.microsoft.com/office/drawing/2014/main" id="{CFBD32F7-03C9-A772-BC37-BB83CAE2C615}"/>
              </a:ext>
            </a:extLst>
          </p:cNvPr>
          <p:cNvSpPr/>
          <p:nvPr/>
        </p:nvSpPr>
        <p:spPr bwMode="auto">
          <a:xfrm>
            <a:off x="5677451" y="16211841"/>
            <a:ext cx="2055945" cy="712263"/>
          </a:xfrm>
          <a:prstGeom prst="rightArrow">
            <a:avLst/>
          </a:prstGeom>
          <a:solidFill>
            <a:schemeClr val="bg2">
              <a:lumMod val="90000"/>
            </a:schemeClr>
          </a:solidFill>
          <a:ln w="952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Loads Assigned</a:t>
            </a:r>
            <a:endParaRPr lang="en-US" sz="1800" b="0" i="0" u="none" strike="noStrike" cap="none" normalizeH="0" baseline="0">
              <a:ln>
                <a:noFill/>
              </a:ln>
              <a:effectLst/>
              <a:latin typeface="Times" charset="0"/>
              <a:cs typeface="Times"/>
            </a:endParaRPr>
          </a:p>
        </p:txBody>
      </p:sp>
      <p:pic>
        <p:nvPicPr>
          <p:cNvPr id="34" name="Picture 33" descr="A silhouette of a truck&#10;&#10;AI-generated content may be incorrect.">
            <a:extLst>
              <a:ext uri="{FF2B5EF4-FFF2-40B4-BE49-F238E27FC236}">
                <a16:creationId xmlns:a16="http://schemas.microsoft.com/office/drawing/2014/main" id="{8A098F87-E18A-0334-CFBB-16B653052B79}"/>
              </a:ext>
            </a:extLst>
          </p:cNvPr>
          <p:cNvPicPr>
            <a:picLocks noChangeAspect="1"/>
          </p:cNvPicPr>
          <p:nvPr/>
        </p:nvPicPr>
        <p:blipFill>
          <a:blip r:embed="rId13"/>
          <a:stretch>
            <a:fillRect/>
          </a:stretch>
        </p:blipFill>
        <p:spPr>
          <a:xfrm>
            <a:off x="8117937" y="15684474"/>
            <a:ext cx="962082" cy="863784"/>
          </a:xfrm>
          <a:prstGeom prst="rect">
            <a:avLst/>
          </a:prstGeom>
        </p:spPr>
      </p:pic>
      <p:sp>
        <p:nvSpPr>
          <p:cNvPr id="38" name="Rectangle 37">
            <a:extLst>
              <a:ext uri="{FF2B5EF4-FFF2-40B4-BE49-F238E27FC236}">
                <a16:creationId xmlns:a16="http://schemas.microsoft.com/office/drawing/2014/main" id="{CF93609E-E80F-A7E6-5AEC-1E20ADD4BB37}"/>
              </a:ext>
            </a:extLst>
          </p:cNvPr>
          <p:cNvSpPr/>
          <p:nvPr/>
        </p:nvSpPr>
        <p:spPr bwMode="auto">
          <a:xfrm>
            <a:off x="7627283" y="18503471"/>
            <a:ext cx="2725402" cy="702085"/>
          </a:xfrm>
          <a:prstGeom prst="rect">
            <a:avLst/>
          </a:prstGeom>
          <a:no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Company Drivers</a:t>
            </a:r>
            <a:endParaRPr lang="en-US" sz="1800" b="0" i="0" u="none" strike="noStrike" cap="none" normalizeH="0" baseline="0">
              <a:ln>
                <a:noFill/>
              </a:ln>
              <a:effectLst/>
              <a:cs typeface="Times"/>
            </a:endParaRPr>
          </a:p>
        </p:txBody>
      </p:sp>
      <p:sp>
        <p:nvSpPr>
          <p:cNvPr id="43" name="Arrow: Right 42">
            <a:extLst>
              <a:ext uri="{FF2B5EF4-FFF2-40B4-BE49-F238E27FC236}">
                <a16:creationId xmlns:a16="http://schemas.microsoft.com/office/drawing/2014/main" id="{1466B7A3-5089-6564-485B-8A11748CD04D}"/>
              </a:ext>
            </a:extLst>
          </p:cNvPr>
          <p:cNvSpPr/>
          <p:nvPr/>
        </p:nvSpPr>
        <p:spPr bwMode="auto">
          <a:xfrm>
            <a:off x="2247207" y="17365989"/>
            <a:ext cx="2041992" cy="738141"/>
          </a:xfrm>
          <a:prstGeom prst="rightArrow">
            <a:avLst/>
          </a:prstGeom>
          <a:solidFill>
            <a:schemeClr val="bg2">
              <a:lumMod val="90000"/>
            </a:schemeClr>
          </a:solidFill>
          <a:ln w="952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a:latin typeface="Times"/>
                <a:cs typeface="Times"/>
              </a:rPr>
              <a:t>Brokered Loads</a:t>
            </a:r>
          </a:p>
          <a:p>
            <a:endParaRPr lang="en-US" sz="1800" b="0" i="0" u="none" strike="noStrike" cap="none" normalizeH="0" baseline="0" dirty="0">
              <a:ln>
                <a:noFill/>
              </a:ln>
              <a:effectLst/>
              <a:latin typeface="Times" charset="0"/>
              <a:cs typeface="Times"/>
            </a:endParaRPr>
          </a:p>
        </p:txBody>
      </p:sp>
      <p:sp>
        <p:nvSpPr>
          <p:cNvPr id="45" name="Arrow: Right 44">
            <a:extLst>
              <a:ext uri="{FF2B5EF4-FFF2-40B4-BE49-F238E27FC236}">
                <a16:creationId xmlns:a16="http://schemas.microsoft.com/office/drawing/2014/main" id="{AC256B52-0715-A867-DA3D-0588BDC29CA9}"/>
              </a:ext>
            </a:extLst>
          </p:cNvPr>
          <p:cNvSpPr/>
          <p:nvPr/>
        </p:nvSpPr>
        <p:spPr bwMode="auto">
          <a:xfrm>
            <a:off x="5754260" y="17303772"/>
            <a:ext cx="2049241" cy="751082"/>
          </a:xfrm>
          <a:prstGeom prst="rightArrow">
            <a:avLst/>
          </a:prstGeom>
          <a:solidFill>
            <a:schemeClr val="bg2">
              <a:lumMod val="90000"/>
            </a:schemeClr>
          </a:solidFill>
          <a:ln w="952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Loads Assigned</a:t>
            </a:r>
            <a:endParaRPr lang="en-US" sz="1800" b="0" i="0" u="none" strike="noStrike" cap="none" normalizeH="0" baseline="0">
              <a:ln>
                <a:noFill/>
              </a:ln>
              <a:effectLst/>
              <a:latin typeface="Times" charset="0"/>
              <a:cs typeface="Times"/>
            </a:endParaRPr>
          </a:p>
        </p:txBody>
      </p:sp>
      <p:sp>
        <p:nvSpPr>
          <p:cNvPr id="42" name="Arrow: Right 41">
            <a:extLst>
              <a:ext uri="{FF2B5EF4-FFF2-40B4-BE49-F238E27FC236}">
                <a16:creationId xmlns:a16="http://schemas.microsoft.com/office/drawing/2014/main" id="{348C12DA-0D01-D7EA-693C-3740765B18C7}"/>
              </a:ext>
            </a:extLst>
          </p:cNvPr>
          <p:cNvSpPr/>
          <p:nvPr/>
        </p:nvSpPr>
        <p:spPr bwMode="auto">
          <a:xfrm>
            <a:off x="2220749" y="16365469"/>
            <a:ext cx="2052309" cy="725202"/>
          </a:xfrm>
          <a:prstGeom prst="rightArrow">
            <a:avLst/>
          </a:prstGeom>
          <a:solidFill>
            <a:schemeClr val="bg2">
              <a:lumMod val="90000"/>
            </a:schemeClr>
          </a:solidFill>
          <a:ln w="952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a:latin typeface="Times"/>
                <a:cs typeface="Times"/>
              </a:rPr>
              <a:t>Brokered Loads</a:t>
            </a:r>
          </a:p>
          <a:p>
            <a:endParaRPr lang="en-US" sz="1800" b="0" i="0" u="none" strike="noStrike" cap="none" normalizeH="0" baseline="0">
              <a:ln>
                <a:noFill/>
              </a:ln>
              <a:effectLst/>
              <a:latin typeface="Times" charset="0"/>
              <a:cs typeface="Times"/>
            </a:endParaRPr>
          </a:p>
        </p:txBody>
      </p:sp>
      <p:graphicFrame>
        <p:nvGraphicFramePr>
          <p:cNvPr id="24" name="Table 23">
            <a:extLst>
              <a:ext uri="{FF2B5EF4-FFF2-40B4-BE49-F238E27FC236}">
                <a16:creationId xmlns:a16="http://schemas.microsoft.com/office/drawing/2014/main" id="{684E41A2-30E9-C668-2DA3-3F8DCAF58854}"/>
              </a:ext>
            </a:extLst>
          </p:cNvPr>
          <p:cNvGraphicFramePr>
            <a:graphicFrameLocks noGrp="1"/>
          </p:cNvGraphicFramePr>
          <p:nvPr>
            <p:extLst>
              <p:ext uri="{D42A27DB-BD31-4B8C-83A1-F6EECF244321}">
                <p14:modId xmlns:p14="http://schemas.microsoft.com/office/powerpoint/2010/main" val="3293772654"/>
              </p:ext>
            </p:extLst>
          </p:nvPr>
        </p:nvGraphicFramePr>
        <p:xfrm>
          <a:off x="22786428" y="14370099"/>
          <a:ext cx="5153025" cy="909982"/>
        </p:xfrm>
        <a:graphic>
          <a:graphicData uri="http://schemas.openxmlformats.org/drawingml/2006/table">
            <a:tbl>
              <a:tblPr firstRow="1" firstCol="1" bandRow="1">
                <a:tableStyleId>{5C22544A-7EE6-4342-B048-85BDC9FD1C3A}</a:tableStyleId>
              </a:tblPr>
              <a:tblGrid>
                <a:gridCol w="1076325">
                  <a:extLst>
                    <a:ext uri="{9D8B030D-6E8A-4147-A177-3AD203B41FA5}">
                      <a16:colId xmlns:a16="http://schemas.microsoft.com/office/drawing/2014/main" val="1860262710"/>
                    </a:ext>
                  </a:extLst>
                </a:gridCol>
                <a:gridCol w="1104900">
                  <a:extLst>
                    <a:ext uri="{9D8B030D-6E8A-4147-A177-3AD203B41FA5}">
                      <a16:colId xmlns:a16="http://schemas.microsoft.com/office/drawing/2014/main" val="45932590"/>
                    </a:ext>
                  </a:extLst>
                </a:gridCol>
                <a:gridCol w="1028700">
                  <a:extLst>
                    <a:ext uri="{9D8B030D-6E8A-4147-A177-3AD203B41FA5}">
                      <a16:colId xmlns:a16="http://schemas.microsoft.com/office/drawing/2014/main" val="851900084"/>
                    </a:ext>
                  </a:extLst>
                </a:gridCol>
                <a:gridCol w="1085850">
                  <a:extLst>
                    <a:ext uri="{9D8B030D-6E8A-4147-A177-3AD203B41FA5}">
                      <a16:colId xmlns:a16="http://schemas.microsoft.com/office/drawing/2014/main" val="2635739870"/>
                    </a:ext>
                  </a:extLst>
                </a:gridCol>
                <a:gridCol w="857250">
                  <a:extLst>
                    <a:ext uri="{9D8B030D-6E8A-4147-A177-3AD203B41FA5}">
                      <a16:colId xmlns:a16="http://schemas.microsoft.com/office/drawing/2014/main" val="2440246395"/>
                    </a:ext>
                  </a:extLst>
                </a:gridCol>
              </a:tblGrid>
              <a:tr h="224182">
                <a:tc>
                  <a:txBody>
                    <a:bodyPr/>
                    <a:lstStyle/>
                    <a:p>
                      <a:pPr algn="ctr" fontAlgn="base">
                        <a:lnSpc>
                          <a:spcPct val="107000"/>
                        </a:lnSpc>
                        <a:spcAft>
                          <a:spcPts val="800"/>
                        </a:spcAft>
                        <a:buNone/>
                      </a:pPr>
                      <a:r>
                        <a:rPr lang="en-US" sz="1000" b="1" kern="0" dirty="0" err="1">
                          <a:solidFill>
                            <a:srgbClr val="000000"/>
                          </a:solidFill>
                          <a:effectLst/>
                          <a:latin typeface="Franklin Gothic Book"/>
                          <a:ea typeface="Times New Roman" panose="02020603050405020304" pitchFamily="18" charset="0"/>
                          <a:cs typeface="Times New Roman"/>
                        </a:rPr>
                        <a:t>Start_Location</a:t>
                      </a:r>
                      <a:endParaRPr lang="en-US" sz="1100" kern="100" dirty="0" err="1">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err="1">
                          <a:solidFill>
                            <a:srgbClr val="000000"/>
                          </a:solidFill>
                          <a:effectLst/>
                          <a:latin typeface="Franklin Gothic Book"/>
                          <a:ea typeface="Times New Roman" panose="02020603050405020304" pitchFamily="18" charset="0"/>
                          <a:cs typeface="Times New Roman"/>
                        </a:rPr>
                        <a:t>Start_time</a:t>
                      </a:r>
                      <a:endParaRPr lang="en-US" sz="1100" kern="100" dirty="0" err="1">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err="1">
                          <a:solidFill>
                            <a:srgbClr val="000000"/>
                          </a:solidFill>
                          <a:effectLst/>
                          <a:latin typeface="Franklin Gothic Book"/>
                          <a:ea typeface="Times New Roman" panose="02020603050405020304" pitchFamily="18" charset="0"/>
                          <a:cs typeface="Times New Roman"/>
                        </a:rPr>
                        <a:t>End_Location</a:t>
                      </a:r>
                      <a:endParaRPr lang="en-US" sz="1100" kern="100" dirty="0" err="1">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err="1">
                          <a:solidFill>
                            <a:srgbClr val="000000"/>
                          </a:solidFill>
                          <a:effectLst/>
                          <a:latin typeface="Franklin Gothic Book"/>
                          <a:ea typeface="Times New Roman" panose="02020603050405020304" pitchFamily="18" charset="0"/>
                          <a:cs typeface="Times New Roman"/>
                        </a:rPr>
                        <a:t>End_time</a:t>
                      </a:r>
                      <a:endParaRPr lang="en-US" sz="1100" kern="100" dirty="0" err="1">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a:solidFill>
                            <a:srgbClr val="000000"/>
                          </a:solidFill>
                          <a:effectLst/>
                          <a:latin typeface="Franklin Gothic Book"/>
                          <a:ea typeface="Times New Roman" panose="02020603050405020304" pitchFamily="18" charset="0"/>
                          <a:cs typeface="Times New Roman"/>
                        </a:rPr>
                        <a:t>Customer</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518042999"/>
                  </a:ext>
                </a:extLst>
              </a:tr>
              <a:tr h="228600">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A</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1 1: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B</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1 3: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Customer A</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186864960"/>
                  </a:ext>
                </a:extLst>
              </a:tr>
              <a:tr h="228600">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B</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7 2: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C</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10 3: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Customer A</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710574170"/>
                  </a:ext>
                </a:extLst>
              </a:tr>
              <a:tr h="228600">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C</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21 3: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D</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22 8:00A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Customer B</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266841802"/>
                  </a:ext>
                </a:extLst>
              </a:tr>
            </a:tbl>
          </a:graphicData>
        </a:graphic>
      </p:graphicFrame>
      <p:sp>
        <p:nvSpPr>
          <p:cNvPr id="100" name="Rectangle 99">
            <a:extLst>
              <a:ext uri="{FF2B5EF4-FFF2-40B4-BE49-F238E27FC236}">
                <a16:creationId xmlns:a16="http://schemas.microsoft.com/office/drawing/2014/main" id="{E87BD74B-20AB-5DEA-C74D-055E8B1DC87F}"/>
              </a:ext>
            </a:extLst>
          </p:cNvPr>
          <p:cNvSpPr/>
          <p:nvPr/>
        </p:nvSpPr>
        <p:spPr bwMode="auto">
          <a:xfrm>
            <a:off x="22213142" y="7065409"/>
            <a:ext cx="10898612" cy="8354036"/>
          </a:xfrm>
          <a:prstGeom prst="rect">
            <a:avLst/>
          </a:prstGeom>
          <a:no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79" name="Diamond 78">
            <a:extLst>
              <a:ext uri="{FF2B5EF4-FFF2-40B4-BE49-F238E27FC236}">
                <a16:creationId xmlns:a16="http://schemas.microsoft.com/office/drawing/2014/main" id="{664AB0F7-7820-C0D7-2EF1-32E35A1E6441}"/>
              </a:ext>
            </a:extLst>
          </p:cNvPr>
          <p:cNvSpPr/>
          <p:nvPr/>
        </p:nvSpPr>
        <p:spPr>
          <a:xfrm>
            <a:off x="24095682" y="9983303"/>
            <a:ext cx="2054250" cy="999600"/>
          </a:xfrm>
          <a:prstGeom prst="diamond">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If previous report exist?</a:t>
            </a:r>
          </a:p>
        </p:txBody>
      </p:sp>
      <p:sp>
        <p:nvSpPr>
          <p:cNvPr id="52" name="Rectangle 106">
            <a:extLst>
              <a:ext uri="{FF2B5EF4-FFF2-40B4-BE49-F238E27FC236}">
                <a16:creationId xmlns:a16="http://schemas.microsoft.com/office/drawing/2014/main" id="{EF37A66F-0919-208C-D890-B389B1286B5E}"/>
              </a:ext>
            </a:extLst>
          </p:cNvPr>
          <p:cNvSpPr>
            <a:spLocks noChangeArrowheads="1"/>
          </p:cNvSpPr>
          <p:nvPr/>
        </p:nvSpPr>
        <p:spPr bwMode="auto">
          <a:xfrm>
            <a:off x="1000690" y="19124483"/>
            <a:ext cx="7575710" cy="687360"/>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r>
              <a:rPr lang="en-US" sz="1800" spc="10" dirty="0">
                <a:latin typeface="Times New Roman"/>
                <a:cs typeface="Arial"/>
              </a:rPr>
              <a:t>Fig 1. Complexity of Freight Logistics</a:t>
            </a:r>
            <a:endParaRPr lang="en-US" sz="1800" spc="10">
              <a:solidFill>
                <a:srgbClr val="000000"/>
              </a:solidFill>
              <a:latin typeface="Times New Roman"/>
              <a:cs typeface="Arial"/>
            </a:endParaRPr>
          </a:p>
          <a:p>
            <a:pPr algn="just"/>
            <a:endParaRPr lang="en-US" sz="1800" spc="10" dirty="0">
              <a:solidFill>
                <a:srgbClr val="FF0000"/>
              </a:solidFill>
              <a:latin typeface="Times New Roman"/>
              <a:cs typeface="Arial" panose="020B0604020202020204" pitchFamily="34" charset="0"/>
            </a:endParaRPr>
          </a:p>
        </p:txBody>
      </p:sp>
      <p:sp>
        <p:nvSpPr>
          <p:cNvPr id="82" name="TextBox 96">
            <a:extLst>
              <a:ext uri="{FF2B5EF4-FFF2-40B4-BE49-F238E27FC236}">
                <a16:creationId xmlns:a16="http://schemas.microsoft.com/office/drawing/2014/main" id="{64E47BDD-E81D-3BAF-D0D5-B8262D93D772}"/>
              </a:ext>
            </a:extLst>
          </p:cNvPr>
          <p:cNvSpPr txBox="1"/>
          <p:nvPr/>
        </p:nvSpPr>
        <p:spPr>
          <a:xfrm>
            <a:off x="27628252" y="8473009"/>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dirty="0">
              <a:solidFill>
                <a:srgbClr val="000000"/>
              </a:solidFill>
            </a:endParaRPr>
          </a:p>
        </p:txBody>
      </p:sp>
      <p:sp>
        <p:nvSpPr>
          <p:cNvPr id="83" name="TextBox 96">
            <a:extLst>
              <a:ext uri="{FF2B5EF4-FFF2-40B4-BE49-F238E27FC236}">
                <a16:creationId xmlns:a16="http://schemas.microsoft.com/office/drawing/2014/main" id="{EBCCB58A-65C5-D52C-CB01-1F41E2AD9C08}"/>
              </a:ext>
            </a:extLst>
          </p:cNvPr>
          <p:cNvSpPr txBox="1"/>
          <p:nvPr/>
        </p:nvSpPr>
        <p:spPr>
          <a:xfrm>
            <a:off x="27589435" y="7360199"/>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dirty="0">
              <a:solidFill>
                <a:srgbClr val="000000"/>
              </a:solidFill>
            </a:endParaRPr>
          </a:p>
        </p:txBody>
      </p:sp>
      <p:cxnSp>
        <p:nvCxnSpPr>
          <p:cNvPr id="84" name="Straight Arrow Connector 83">
            <a:extLst>
              <a:ext uri="{FF2B5EF4-FFF2-40B4-BE49-F238E27FC236}">
                <a16:creationId xmlns:a16="http://schemas.microsoft.com/office/drawing/2014/main" id="{0FB24FEB-1EF0-0DA6-9DC4-B63D3266794B}"/>
              </a:ext>
            </a:extLst>
          </p:cNvPr>
          <p:cNvCxnSpPr>
            <a:cxnSpLocks/>
          </p:cNvCxnSpPr>
          <p:nvPr/>
        </p:nvCxnSpPr>
        <p:spPr>
          <a:xfrm flipV="1">
            <a:off x="27575708" y="7732508"/>
            <a:ext cx="612752" cy="16914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2770812-FA7A-80BA-5AD3-70C7FBA19536}"/>
              </a:ext>
            </a:extLst>
          </p:cNvPr>
          <p:cNvCxnSpPr>
            <a:cxnSpLocks/>
          </p:cNvCxnSpPr>
          <p:nvPr/>
        </p:nvCxnSpPr>
        <p:spPr>
          <a:xfrm>
            <a:off x="23982444" y="11913168"/>
            <a:ext cx="996" cy="30782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CD117D27-B144-C9AB-FBF8-C11CFC98B40C}"/>
              </a:ext>
            </a:extLst>
          </p:cNvPr>
          <p:cNvCxnSpPr>
            <a:cxnSpLocks/>
          </p:cNvCxnSpPr>
          <p:nvPr/>
        </p:nvCxnSpPr>
        <p:spPr>
          <a:xfrm>
            <a:off x="24435546" y="13131232"/>
            <a:ext cx="694167" cy="28877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05B8C6A8-B254-143D-5E03-BF185B79C58F}"/>
              </a:ext>
            </a:extLst>
          </p:cNvPr>
          <p:cNvCxnSpPr>
            <a:cxnSpLocks/>
          </p:cNvCxnSpPr>
          <p:nvPr/>
        </p:nvCxnSpPr>
        <p:spPr>
          <a:xfrm>
            <a:off x="26886277" y="13068801"/>
            <a:ext cx="668287" cy="30171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434AE978-F52C-C56E-2743-870F0B0F5050}"/>
              </a:ext>
            </a:extLst>
          </p:cNvPr>
          <p:cNvCxnSpPr>
            <a:cxnSpLocks/>
          </p:cNvCxnSpPr>
          <p:nvPr/>
        </p:nvCxnSpPr>
        <p:spPr>
          <a:xfrm flipH="1">
            <a:off x="25348706" y="13141471"/>
            <a:ext cx="572302" cy="2914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5CFD39BE-D052-FCF6-F806-68C097709421}"/>
              </a:ext>
            </a:extLst>
          </p:cNvPr>
          <p:cNvCxnSpPr>
            <a:cxnSpLocks/>
          </p:cNvCxnSpPr>
          <p:nvPr/>
        </p:nvCxnSpPr>
        <p:spPr>
          <a:xfrm flipH="1">
            <a:off x="22851359" y="13115592"/>
            <a:ext cx="572302" cy="2914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E7070685-D68D-3B66-D8E8-74C908B5CA28}"/>
              </a:ext>
            </a:extLst>
          </p:cNvPr>
          <p:cNvSpPr/>
          <p:nvPr/>
        </p:nvSpPr>
        <p:spPr>
          <a:xfrm>
            <a:off x="28543204" y="7355922"/>
            <a:ext cx="1823373" cy="709171"/>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a:solidFill>
                  <a:srgbClr val="000000"/>
                </a:solidFill>
              </a:rPr>
              <a:t>Exit</a:t>
            </a:r>
            <a:endParaRPr lang="en-US"/>
          </a:p>
        </p:txBody>
      </p:sp>
      <p:sp>
        <p:nvSpPr>
          <p:cNvPr id="95" name="Diamond 94">
            <a:extLst>
              <a:ext uri="{FF2B5EF4-FFF2-40B4-BE49-F238E27FC236}">
                <a16:creationId xmlns:a16="http://schemas.microsoft.com/office/drawing/2014/main" id="{35B65B60-BBEE-3B4F-7463-F329C346B8BF}"/>
              </a:ext>
            </a:extLst>
          </p:cNvPr>
          <p:cNvSpPr/>
          <p:nvPr/>
        </p:nvSpPr>
        <p:spPr>
          <a:xfrm>
            <a:off x="29407841" y="9989398"/>
            <a:ext cx="2054250" cy="999600"/>
          </a:xfrm>
          <a:prstGeom prst="diamond">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If damage report has </a:t>
            </a:r>
            <a:r>
              <a:rPr lang="en-US" sz="1200">
                <a:solidFill>
                  <a:srgbClr val="000000"/>
                </a:solidFill>
              </a:rPr>
              <a:t>images?</a:t>
            </a:r>
            <a:endParaRPr lang="en-US" sz="1200">
              <a:solidFill>
                <a:srgbClr val="000000"/>
              </a:solidFill>
              <a:cs typeface="Times"/>
            </a:endParaRPr>
          </a:p>
        </p:txBody>
      </p:sp>
      <p:sp>
        <p:nvSpPr>
          <p:cNvPr id="97" name="Rectangle: Rounded Corners 96">
            <a:extLst>
              <a:ext uri="{FF2B5EF4-FFF2-40B4-BE49-F238E27FC236}">
                <a16:creationId xmlns:a16="http://schemas.microsoft.com/office/drawing/2014/main" id="{C8F17C0A-DB12-85F4-2DF2-A892353C6A40}"/>
              </a:ext>
            </a:extLst>
          </p:cNvPr>
          <p:cNvSpPr/>
          <p:nvPr/>
        </p:nvSpPr>
        <p:spPr>
          <a:xfrm>
            <a:off x="30698662" y="11341027"/>
            <a:ext cx="1858273"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a:solidFill>
                  <a:srgbClr val="000000"/>
                </a:solidFill>
                <a:cs typeface="Times"/>
              </a:rPr>
              <a:t>Image Processing</a:t>
            </a:r>
          </a:p>
        </p:txBody>
      </p:sp>
      <p:cxnSp>
        <p:nvCxnSpPr>
          <p:cNvPr id="98" name="Straight Arrow Connector 97">
            <a:extLst>
              <a:ext uri="{FF2B5EF4-FFF2-40B4-BE49-F238E27FC236}">
                <a16:creationId xmlns:a16="http://schemas.microsoft.com/office/drawing/2014/main" id="{407F23B3-54B7-AAE7-227A-0E3B1FD9965D}"/>
              </a:ext>
            </a:extLst>
          </p:cNvPr>
          <p:cNvCxnSpPr>
            <a:cxnSpLocks/>
          </p:cNvCxnSpPr>
          <p:nvPr/>
        </p:nvCxnSpPr>
        <p:spPr>
          <a:xfrm flipH="1">
            <a:off x="29406369" y="10965944"/>
            <a:ext cx="714637" cy="31734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F3045FEE-FC73-967F-222D-E919202A4C7A}"/>
              </a:ext>
            </a:extLst>
          </p:cNvPr>
          <p:cNvCxnSpPr>
            <a:cxnSpLocks/>
          </p:cNvCxnSpPr>
          <p:nvPr/>
        </p:nvCxnSpPr>
        <p:spPr>
          <a:xfrm>
            <a:off x="30844952" y="10968703"/>
            <a:ext cx="720046" cy="30171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96">
            <a:extLst>
              <a:ext uri="{FF2B5EF4-FFF2-40B4-BE49-F238E27FC236}">
                <a16:creationId xmlns:a16="http://schemas.microsoft.com/office/drawing/2014/main" id="{81C2CD75-12EE-966E-6264-64ED6CB340F3}"/>
              </a:ext>
            </a:extLst>
          </p:cNvPr>
          <p:cNvSpPr txBox="1"/>
          <p:nvPr/>
        </p:nvSpPr>
        <p:spPr>
          <a:xfrm>
            <a:off x="29550877" y="10862956"/>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sz="1200" dirty="0">
              <a:solidFill>
                <a:srgbClr val="000000"/>
              </a:solidFill>
              <a:cs typeface="Times"/>
            </a:endParaRPr>
          </a:p>
        </p:txBody>
      </p:sp>
      <p:sp>
        <p:nvSpPr>
          <p:cNvPr id="102" name="TextBox 101">
            <a:extLst>
              <a:ext uri="{FF2B5EF4-FFF2-40B4-BE49-F238E27FC236}">
                <a16:creationId xmlns:a16="http://schemas.microsoft.com/office/drawing/2014/main" id="{1E48B78B-A35D-4741-93A3-C348F7C706F1}"/>
              </a:ext>
            </a:extLst>
          </p:cNvPr>
          <p:cNvSpPr txBox="1"/>
          <p:nvPr/>
        </p:nvSpPr>
        <p:spPr>
          <a:xfrm>
            <a:off x="31199420" y="10832223"/>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dirty="0">
              <a:solidFill>
                <a:srgbClr val="000000"/>
              </a:solidFill>
            </a:endParaRPr>
          </a:p>
        </p:txBody>
      </p:sp>
      <p:sp>
        <p:nvSpPr>
          <p:cNvPr id="23" name="Rectangle: Rounded Corners 22">
            <a:extLst>
              <a:ext uri="{FF2B5EF4-FFF2-40B4-BE49-F238E27FC236}">
                <a16:creationId xmlns:a16="http://schemas.microsoft.com/office/drawing/2014/main" id="{0C7DD3B6-65B2-D1EA-7B85-C5E827DCA94F}"/>
              </a:ext>
            </a:extLst>
          </p:cNvPr>
          <p:cNvSpPr/>
          <p:nvPr/>
        </p:nvSpPr>
        <p:spPr>
          <a:xfrm>
            <a:off x="28311301" y="11349438"/>
            <a:ext cx="1858273"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a:solidFill>
                  <a:srgbClr val="000000"/>
                </a:solidFill>
                <a:cs typeface="Times"/>
              </a:rPr>
              <a:t>Exit</a:t>
            </a:r>
            <a:endParaRPr lang="en-US"/>
          </a:p>
        </p:txBody>
      </p:sp>
      <p:sp>
        <p:nvSpPr>
          <p:cNvPr id="27" name="Isosceles Triangle 26">
            <a:extLst>
              <a:ext uri="{FF2B5EF4-FFF2-40B4-BE49-F238E27FC236}">
                <a16:creationId xmlns:a16="http://schemas.microsoft.com/office/drawing/2014/main" id="{515892E8-CDC3-D3EE-B0D1-61CA0A64FFF1}"/>
              </a:ext>
            </a:extLst>
          </p:cNvPr>
          <p:cNvSpPr/>
          <p:nvPr/>
        </p:nvSpPr>
        <p:spPr>
          <a:xfrm>
            <a:off x="30007643" y="14236042"/>
            <a:ext cx="2756387" cy="144512"/>
          </a:xfrm>
          <a:prstGeom prst="triangle">
            <a:avLst/>
          </a:prstGeom>
          <a:solidFill>
            <a:schemeClr val="bg2">
              <a:lumMod val="20000"/>
              <a:lumOff val="80000"/>
            </a:schemeClr>
          </a:solidFill>
          <a:ln>
            <a:noFill/>
          </a:ln>
          <a:effectLst>
            <a:outerShdw blurRad="63500" dist="38100" dir="2700000">
              <a:srgbClr val="000000">
                <a:alpha val="40000"/>
              </a:srgbClr>
            </a:outerShdw>
            <a:reflection stA="40000" endPos="54000" dist="508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3" name="Rectangle: Rounded Corners 32">
            <a:extLst>
              <a:ext uri="{FF2B5EF4-FFF2-40B4-BE49-F238E27FC236}">
                <a16:creationId xmlns:a16="http://schemas.microsoft.com/office/drawing/2014/main" id="{219DC96F-CFA7-9908-9DBE-682E640E26F9}"/>
              </a:ext>
            </a:extLst>
          </p:cNvPr>
          <p:cNvSpPr/>
          <p:nvPr/>
        </p:nvSpPr>
        <p:spPr>
          <a:xfrm>
            <a:off x="30698661" y="12427954"/>
            <a:ext cx="1858273"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cs typeface="Times"/>
              </a:rPr>
              <a:t>Image Analysis</a:t>
            </a:r>
          </a:p>
          <a:p>
            <a:pPr algn="ctr"/>
            <a:r>
              <a:rPr lang="en-US" sz="1200" dirty="0">
                <a:solidFill>
                  <a:srgbClr val="000000"/>
                </a:solidFill>
                <a:cs typeface="Times"/>
              </a:rPr>
              <a:t>(MobileNetV2)</a:t>
            </a:r>
          </a:p>
        </p:txBody>
      </p:sp>
      <p:cxnSp>
        <p:nvCxnSpPr>
          <p:cNvPr id="39" name="Straight Arrow Connector 38">
            <a:extLst>
              <a:ext uri="{FF2B5EF4-FFF2-40B4-BE49-F238E27FC236}">
                <a16:creationId xmlns:a16="http://schemas.microsoft.com/office/drawing/2014/main" id="{80967C93-478D-6363-52CB-3784980F9E03}"/>
              </a:ext>
            </a:extLst>
          </p:cNvPr>
          <p:cNvCxnSpPr>
            <a:cxnSpLocks/>
          </p:cNvCxnSpPr>
          <p:nvPr/>
        </p:nvCxnSpPr>
        <p:spPr>
          <a:xfrm>
            <a:off x="31633440" y="12057717"/>
            <a:ext cx="996" cy="30782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7F556461-EDFF-B369-3A9B-87B43EF1D585}"/>
              </a:ext>
            </a:extLst>
          </p:cNvPr>
          <p:cNvCxnSpPr/>
          <p:nvPr/>
        </p:nvCxnSpPr>
        <p:spPr bwMode="auto">
          <a:xfrm flipV="1">
            <a:off x="22204795" y="9066773"/>
            <a:ext cx="10890848" cy="17252"/>
          </a:xfrm>
          <a:prstGeom prst="straightConnector1">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2" name="Group 91">
            <a:extLst>
              <a:ext uri="{FF2B5EF4-FFF2-40B4-BE49-F238E27FC236}">
                <a16:creationId xmlns:a16="http://schemas.microsoft.com/office/drawing/2014/main" id="{B88DE94B-1F57-4A44-8AA4-B63946D5C3D8}"/>
              </a:ext>
            </a:extLst>
          </p:cNvPr>
          <p:cNvGrpSpPr/>
          <p:nvPr/>
        </p:nvGrpSpPr>
        <p:grpSpPr>
          <a:xfrm>
            <a:off x="34761911" y="6505705"/>
            <a:ext cx="5773205" cy="3143000"/>
            <a:chOff x="33180068" y="4882733"/>
            <a:chExt cx="10407759" cy="5571245"/>
          </a:xfrm>
        </p:grpSpPr>
        <p:pic>
          <p:nvPicPr>
            <p:cNvPr id="15" name="Picture 14" descr="A pie chart with a blue and red triangle&#10;&#10;AI-generated content may be incorrect.">
              <a:extLst>
                <a:ext uri="{FF2B5EF4-FFF2-40B4-BE49-F238E27FC236}">
                  <a16:creationId xmlns:a16="http://schemas.microsoft.com/office/drawing/2014/main" id="{2F132B02-D216-A290-060B-2F62FC78BCC0}"/>
                </a:ext>
              </a:extLst>
            </p:cNvPr>
            <p:cNvPicPr>
              <a:picLocks noChangeAspect="1"/>
            </p:cNvPicPr>
            <p:nvPr/>
          </p:nvPicPr>
          <p:blipFill>
            <a:blip r:embed="rId14"/>
            <a:stretch>
              <a:fillRect/>
            </a:stretch>
          </p:blipFill>
          <p:spPr>
            <a:xfrm>
              <a:off x="33180068" y="6002906"/>
              <a:ext cx="5972354" cy="3909924"/>
            </a:xfrm>
            <a:prstGeom prst="rect">
              <a:avLst/>
            </a:prstGeom>
          </p:spPr>
        </p:pic>
        <p:sp>
          <p:nvSpPr>
            <p:cNvPr id="25" name="Isosceles Triangle 24">
              <a:extLst>
                <a:ext uri="{FF2B5EF4-FFF2-40B4-BE49-F238E27FC236}">
                  <a16:creationId xmlns:a16="http://schemas.microsoft.com/office/drawing/2014/main" id="{E3A37FB8-6C3F-4071-FC0A-A82DE1206564}"/>
                </a:ext>
              </a:extLst>
            </p:cNvPr>
            <p:cNvSpPr/>
            <p:nvPr/>
          </p:nvSpPr>
          <p:spPr bwMode="auto">
            <a:xfrm rot="16200000">
              <a:off x="36657968" y="6820503"/>
              <a:ext cx="2687279" cy="1755162"/>
            </a:xfrm>
            <a:prstGeom prst="triangl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11" name="Picture 10" descr="A pie chart with a blue and red triangle&#10;&#10;AI-generated content may be incorrect.">
              <a:extLst>
                <a:ext uri="{FF2B5EF4-FFF2-40B4-BE49-F238E27FC236}">
                  <a16:creationId xmlns:a16="http://schemas.microsoft.com/office/drawing/2014/main" id="{2D34F4B9-B34D-23E6-204F-BF9A996FD1A5}"/>
                </a:ext>
              </a:extLst>
            </p:cNvPr>
            <p:cNvPicPr>
              <a:picLocks noChangeAspect="1"/>
            </p:cNvPicPr>
            <p:nvPr/>
          </p:nvPicPr>
          <p:blipFill>
            <a:blip r:embed="rId15"/>
            <a:srcRect l="-2170" t="-551" r="1989" b="826"/>
            <a:stretch/>
          </p:blipFill>
          <p:spPr>
            <a:xfrm rot="4320000">
              <a:off x="33307293" y="5855714"/>
              <a:ext cx="5571245" cy="3625284"/>
            </a:xfrm>
            <a:prstGeom prst="rect">
              <a:avLst/>
            </a:prstGeom>
          </p:spPr>
        </p:pic>
        <p:pic>
          <p:nvPicPr>
            <p:cNvPr id="142" name="Picture 141" descr="A pie chart with a number of pies&#10;&#10;AI-generated content may be incorrect.">
              <a:extLst>
                <a:ext uri="{FF2B5EF4-FFF2-40B4-BE49-F238E27FC236}">
                  <a16:creationId xmlns:a16="http://schemas.microsoft.com/office/drawing/2014/main" id="{7E282067-08E4-EF45-7E10-504A8DD95329}"/>
                </a:ext>
              </a:extLst>
            </p:cNvPr>
            <p:cNvPicPr>
              <a:picLocks noChangeAspect="1"/>
            </p:cNvPicPr>
            <p:nvPr/>
          </p:nvPicPr>
          <p:blipFill>
            <a:blip r:embed="rId16"/>
            <a:stretch>
              <a:fillRect/>
            </a:stretch>
          </p:blipFill>
          <p:spPr>
            <a:xfrm>
              <a:off x="36425027" y="5716874"/>
              <a:ext cx="7162800" cy="4438650"/>
            </a:xfrm>
            <a:prstGeom prst="rect">
              <a:avLst/>
            </a:prstGeom>
          </p:spPr>
        </p:pic>
      </p:grpSp>
      <p:sp>
        <p:nvSpPr>
          <p:cNvPr id="60" name="Rectangle 59">
            <a:extLst>
              <a:ext uri="{FF2B5EF4-FFF2-40B4-BE49-F238E27FC236}">
                <a16:creationId xmlns:a16="http://schemas.microsoft.com/office/drawing/2014/main" id="{776440A9-87FF-50D3-A3DE-444E1914ADFC}"/>
              </a:ext>
            </a:extLst>
          </p:cNvPr>
          <p:cNvSpPr/>
          <p:nvPr/>
        </p:nvSpPr>
        <p:spPr>
          <a:xfrm>
            <a:off x="22213142" y="16013301"/>
            <a:ext cx="6258479"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a:cs typeface="Times"/>
              </a:rPr>
              <a:t>LIMITATIONS &amp; ASSUMPTIONS</a:t>
            </a:r>
          </a:p>
        </p:txBody>
      </p:sp>
      <p:sp>
        <p:nvSpPr>
          <p:cNvPr id="66" name="Rectangle 65">
            <a:extLst>
              <a:ext uri="{FF2B5EF4-FFF2-40B4-BE49-F238E27FC236}">
                <a16:creationId xmlns:a16="http://schemas.microsoft.com/office/drawing/2014/main" id="{4BC6C3D6-0254-B34B-9207-D715051434DD}"/>
              </a:ext>
            </a:extLst>
          </p:cNvPr>
          <p:cNvSpPr/>
          <p:nvPr/>
        </p:nvSpPr>
        <p:spPr>
          <a:xfrm>
            <a:off x="22389093" y="18186506"/>
            <a:ext cx="3480990" cy="523220"/>
          </a:xfrm>
          <a:prstGeom prst="rect">
            <a:avLst/>
          </a:prstGeom>
        </p:spPr>
        <p:txBody>
          <a:bodyPr wrap="square" lIns="91440" tIns="45720" rIns="91440" bIns="45720" anchor="t">
            <a:spAutoFit/>
          </a:bodyPr>
          <a:lstStyle/>
          <a:p>
            <a:endParaRPr lang="en-US" sz="2800" b="1" dirty="0">
              <a:solidFill>
                <a:schemeClr val="bg2">
                  <a:lumMod val="49000"/>
                </a:schemeClr>
              </a:solidFill>
              <a:latin typeface="Times New Roman"/>
              <a:cs typeface="Arial" panose="020B0604020202020204" pitchFamily="34" charset="0"/>
            </a:endParaRPr>
          </a:p>
        </p:txBody>
      </p:sp>
      <p:pic>
        <p:nvPicPr>
          <p:cNvPr id="78" name="Picture 77">
            <a:extLst>
              <a:ext uri="{FF2B5EF4-FFF2-40B4-BE49-F238E27FC236}">
                <a16:creationId xmlns:a16="http://schemas.microsoft.com/office/drawing/2014/main" id="{5FC911FE-A147-31FA-18FC-A40FEB31C2EF}"/>
              </a:ext>
            </a:extLst>
          </p:cNvPr>
          <p:cNvPicPr>
            <a:picLocks noChangeAspect="1"/>
          </p:cNvPicPr>
          <p:nvPr/>
        </p:nvPicPr>
        <p:blipFill>
          <a:blip r:embed="rId17"/>
          <a:stretch>
            <a:fillRect/>
          </a:stretch>
        </p:blipFill>
        <p:spPr>
          <a:xfrm>
            <a:off x="39770858" y="997643"/>
            <a:ext cx="3390900" cy="942975"/>
          </a:xfrm>
          <a:prstGeom prst="rect">
            <a:avLst/>
          </a:prstGeom>
        </p:spPr>
      </p:pic>
      <p:pic>
        <p:nvPicPr>
          <p:cNvPr id="70" name="Picture 69" descr="A black and white logo&#10;&#10;AI-generated content may be incorrect.">
            <a:extLst>
              <a:ext uri="{FF2B5EF4-FFF2-40B4-BE49-F238E27FC236}">
                <a16:creationId xmlns:a16="http://schemas.microsoft.com/office/drawing/2014/main" id="{0D701C2D-42F7-CA91-1DC5-14905A01E223}"/>
              </a:ext>
            </a:extLst>
          </p:cNvPr>
          <p:cNvPicPr>
            <a:picLocks noChangeAspect="1"/>
          </p:cNvPicPr>
          <p:nvPr/>
        </p:nvPicPr>
        <p:blipFill>
          <a:blip r:embed="rId18"/>
          <a:stretch>
            <a:fillRect/>
          </a:stretch>
        </p:blipFill>
        <p:spPr>
          <a:xfrm>
            <a:off x="34302172" y="199723"/>
            <a:ext cx="5505409" cy="2565332"/>
          </a:xfrm>
          <a:prstGeom prst="rect">
            <a:avLst/>
          </a:prstGeom>
        </p:spPr>
      </p:pic>
      <p:sp>
        <p:nvSpPr>
          <p:cNvPr id="163" name="Arrow: Bent 162">
            <a:extLst>
              <a:ext uri="{FF2B5EF4-FFF2-40B4-BE49-F238E27FC236}">
                <a16:creationId xmlns:a16="http://schemas.microsoft.com/office/drawing/2014/main" id="{23AD3AA8-2BB6-D8F3-A592-B31D1A807DBC}"/>
              </a:ext>
            </a:extLst>
          </p:cNvPr>
          <p:cNvSpPr/>
          <p:nvPr/>
        </p:nvSpPr>
        <p:spPr bwMode="auto">
          <a:xfrm rot="5400000">
            <a:off x="30559921" y="7983704"/>
            <a:ext cx="917332" cy="972199"/>
          </a:xfrm>
          <a:prstGeom prst="bentArrow">
            <a:avLst/>
          </a:prstGeom>
          <a:solidFill>
            <a:schemeClr val="bg2">
              <a:lumMod val="75000"/>
            </a:schemeClr>
          </a:solidFill>
          <a:ln w="9525"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69" name="TextBox 68" descr="A black and white text&#10;&#10;AI-generated content may be incorrect.">
            <a:extLst>
              <a:ext uri="{FF2B5EF4-FFF2-40B4-BE49-F238E27FC236}">
                <a16:creationId xmlns:a16="http://schemas.microsoft.com/office/drawing/2014/main" id="{603A9031-A18D-9D2D-7053-23C0F9C95D9B}"/>
              </a:ext>
            </a:extLst>
          </p:cNvPr>
          <p:cNvSpPr txBox="1"/>
          <p:nvPr/>
        </p:nvSpPr>
        <p:spPr>
          <a:xfrm>
            <a:off x="22213142" y="16512444"/>
            <a:ext cx="10723629" cy="4524315"/>
          </a:xfrm>
          <a:prstGeom prst="rect">
            <a:avLst/>
          </a:prstGeom>
          <a:noFill/>
        </p:spPr>
        <p:txBody>
          <a:bodyPr wrap="square" lIns="91440" tIns="45720" rIns="91440" bIns="45720" rtlCol="0" anchor="t">
            <a:spAutoFit/>
          </a:bodyPr>
          <a:lstStyle/>
          <a:p>
            <a:pPr marL="285750" indent="-285750" algn="just">
              <a:buFont typeface="Arial"/>
              <a:buChar char="•"/>
            </a:pPr>
            <a:r>
              <a:rPr lang="en-US" sz="2400" b="1" spc="10" dirty="0">
                <a:latin typeface="Times"/>
                <a:cs typeface="Times"/>
              </a:rPr>
              <a:t>Data Integrity</a:t>
            </a:r>
            <a:r>
              <a:rPr lang="en-US" sz="2400" spc="10" dirty="0">
                <a:latin typeface="Times"/>
                <a:cs typeface="Times"/>
              </a:rPr>
              <a:t>: Assumes accuracy and completeness of all input data, including toll reports, subscription information, inspection reports, and telematics data.</a:t>
            </a:r>
            <a:endParaRPr lang="en-US" sz="2400" b="1" spc="10">
              <a:solidFill>
                <a:srgbClr val="918752"/>
              </a:solidFill>
              <a:latin typeface="Times"/>
              <a:cs typeface="Times"/>
            </a:endParaRPr>
          </a:p>
          <a:p>
            <a:pPr marL="285750" indent="-285750" algn="just">
              <a:buFont typeface="Arial"/>
              <a:buChar char="•"/>
            </a:pPr>
            <a:r>
              <a:rPr lang="en-US" sz="2400" b="1" spc="10" dirty="0">
                <a:latin typeface="Times"/>
                <a:cs typeface="Times"/>
              </a:rPr>
              <a:t>System Functionality</a:t>
            </a:r>
            <a:r>
              <a:rPr lang="en-US" sz="2400" spc="10" dirty="0">
                <a:latin typeface="Times"/>
                <a:cs typeface="Times"/>
              </a:rPr>
              <a:t>: Assumes proper functioning of automated logic and database systems.</a:t>
            </a:r>
          </a:p>
          <a:p>
            <a:pPr marL="285750" indent="-285750" algn="just">
              <a:buFont typeface="Arial,Sans-Serif"/>
              <a:buChar char="•"/>
            </a:pPr>
            <a:r>
              <a:rPr lang="en-US" sz="2400" b="1" spc="10" dirty="0">
                <a:latin typeface="Times"/>
                <a:cs typeface="Times"/>
              </a:rPr>
              <a:t>Data Latency</a:t>
            </a:r>
            <a:r>
              <a:rPr lang="en-US" sz="2400" spc="10" dirty="0">
                <a:latin typeface="Times"/>
                <a:cs typeface="Times"/>
              </a:rPr>
              <a:t>: Delays in data acquisition (toll data, telematics) can impact the timeliness and accuracy of results.</a:t>
            </a:r>
          </a:p>
          <a:p>
            <a:pPr marL="285750" indent="-285750" algn="just">
              <a:buFont typeface="Arial,Sans-Serif"/>
              <a:buChar char="•"/>
            </a:pPr>
            <a:r>
              <a:rPr lang="en-US" sz="2400" b="1" spc="10">
                <a:latin typeface="Times"/>
                <a:cs typeface="Times"/>
              </a:rPr>
              <a:t>Manual Intervention</a:t>
            </a:r>
            <a:r>
              <a:rPr lang="en-US" sz="2400" spc="10">
                <a:latin typeface="Times"/>
                <a:cs typeface="Times"/>
              </a:rPr>
              <a:t>: Some cases require manual review, limiting full automation.</a:t>
            </a:r>
          </a:p>
          <a:p>
            <a:pPr marL="285750" indent="-285750" algn="just">
              <a:buFont typeface="Arial,Sans-Serif"/>
              <a:buChar char="•"/>
            </a:pPr>
            <a:r>
              <a:rPr lang="en-US" sz="2400" b="1" spc="10">
                <a:latin typeface="Times"/>
                <a:cs typeface="Times"/>
              </a:rPr>
              <a:t>Scope Limitations</a:t>
            </a:r>
            <a:r>
              <a:rPr lang="en-US" sz="2400" spc="10">
                <a:latin typeface="Times"/>
                <a:cs typeface="Times"/>
              </a:rPr>
              <a:t>: Methodologies address specific aspects (toll assignment, damage assessment) but may not cover all related processes (e.g., dispute resolution, fraud detection).</a:t>
            </a:r>
          </a:p>
          <a:p>
            <a:pPr marL="285750" indent="-285750" algn="just">
              <a:buFont typeface="Arial"/>
              <a:buChar char="•"/>
            </a:pPr>
            <a:endParaRPr lang="en-US" sz="2400" spc="10" dirty="0">
              <a:latin typeface="Times"/>
              <a:cs typeface="Times"/>
            </a:endParaRPr>
          </a:p>
        </p:txBody>
      </p:sp>
      <p:sp>
        <p:nvSpPr>
          <p:cNvPr id="164" name="Rectangle: Rounded Corners 163">
            <a:extLst>
              <a:ext uri="{FF2B5EF4-FFF2-40B4-BE49-F238E27FC236}">
                <a16:creationId xmlns:a16="http://schemas.microsoft.com/office/drawing/2014/main" id="{11EAAD9E-49DB-D9D4-CE5F-976A66DF620C}"/>
              </a:ext>
            </a:extLst>
          </p:cNvPr>
          <p:cNvSpPr/>
          <p:nvPr/>
        </p:nvSpPr>
        <p:spPr>
          <a:xfrm>
            <a:off x="22364615" y="9223678"/>
            <a:ext cx="5271277" cy="616544"/>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dirty="0">
                <a:solidFill>
                  <a:srgbClr val="000000"/>
                </a:solidFill>
                <a:cs typeface="Times"/>
              </a:rPr>
              <a:t>Automatic Attribution</a:t>
            </a:r>
            <a:endParaRPr lang="en-US"/>
          </a:p>
        </p:txBody>
      </p:sp>
      <p:sp>
        <p:nvSpPr>
          <p:cNvPr id="35" name="TextBox 34">
            <a:extLst>
              <a:ext uri="{FF2B5EF4-FFF2-40B4-BE49-F238E27FC236}">
                <a16:creationId xmlns:a16="http://schemas.microsoft.com/office/drawing/2014/main" id="{B546E8FC-F0B0-2805-E88B-0730ED0C07B0}"/>
              </a:ext>
            </a:extLst>
          </p:cNvPr>
          <p:cNvSpPr txBox="1"/>
          <p:nvPr/>
        </p:nvSpPr>
        <p:spPr>
          <a:xfrm>
            <a:off x="33548273" y="3933685"/>
            <a:ext cx="9583164"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400" dirty="0">
                <a:latin typeface="Times"/>
                <a:cs typeface="Times"/>
              </a:rPr>
              <a:t>Tolls, damages and maintenance together contribute to about 10% of the total costs of a trip in the logistics industry. The hours spent on manually reviewing the reports and matching the drivers can be saved. The solution can increase the accuracy of attribution to drivers. </a:t>
            </a:r>
          </a:p>
          <a:p>
            <a:pPr algn="just"/>
            <a:r>
              <a:rPr lang="en-US" sz="2400" dirty="0">
                <a:latin typeface="Times"/>
                <a:cs typeface="Times"/>
              </a:rPr>
              <a:t>We arrived at this estimate based on the following assumptions: there are ~1000 trailers in operation, each trailer completes an average of four trips per week, it takes two minutes to review a report, the cost of labor is $15 per hour, and each trip incurs one toll charge.</a:t>
            </a:r>
          </a:p>
        </p:txBody>
      </p:sp>
      <p:sp>
        <p:nvSpPr>
          <p:cNvPr id="165" name="Rectangle: Rounded Corners 164">
            <a:extLst>
              <a:ext uri="{FF2B5EF4-FFF2-40B4-BE49-F238E27FC236}">
                <a16:creationId xmlns:a16="http://schemas.microsoft.com/office/drawing/2014/main" id="{313C4ECF-31F7-CCD7-10EC-FA2EABB77A5A}"/>
              </a:ext>
            </a:extLst>
          </p:cNvPr>
          <p:cNvSpPr/>
          <p:nvPr/>
        </p:nvSpPr>
        <p:spPr>
          <a:xfrm>
            <a:off x="27743441" y="9223678"/>
            <a:ext cx="5271277" cy="616544"/>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dirty="0">
                <a:solidFill>
                  <a:srgbClr val="000000"/>
                </a:solidFill>
                <a:cs typeface="Times"/>
              </a:rPr>
              <a:t>Damage Analysis</a:t>
            </a:r>
            <a:endParaRPr lang="en-US">
              <a:cs typeface="Times"/>
            </a:endParaRPr>
          </a:p>
        </p:txBody>
      </p:sp>
      <p:sp>
        <p:nvSpPr>
          <p:cNvPr id="87" name="TextBox 86">
            <a:extLst>
              <a:ext uri="{FF2B5EF4-FFF2-40B4-BE49-F238E27FC236}">
                <a16:creationId xmlns:a16="http://schemas.microsoft.com/office/drawing/2014/main" id="{39E9059A-0DAB-8F76-3719-1B102A2177C9}"/>
              </a:ext>
            </a:extLst>
          </p:cNvPr>
          <p:cNvSpPr txBox="1"/>
          <p:nvPr/>
        </p:nvSpPr>
        <p:spPr>
          <a:xfrm>
            <a:off x="39721868" y="7345076"/>
            <a:ext cx="2913073"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608965" lvl="2"/>
            <a:r>
              <a:rPr lang="en-US" sz="1800" dirty="0">
                <a:latin typeface="Times New Roman"/>
                <a:cs typeface="Segoe UI"/>
              </a:rPr>
              <a:t>​Fig 5. 20% of the damages, maintenance and tolls remain unattributed, leading to host company eating the cost</a:t>
            </a:r>
            <a:endParaRPr lang="en-US" sz="1800">
              <a:latin typeface="Times New Roman"/>
              <a:cs typeface="Times New Roman"/>
            </a:endParaRPr>
          </a:p>
        </p:txBody>
      </p:sp>
      <p:sp>
        <p:nvSpPr>
          <p:cNvPr id="167" name="Rectangle: Rounded Corners 166">
            <a:extLst>
              <a:ext uri="{FF2B5EF4-FFF2-40B4-BE49-F238E27FC236}">
                <a16:creationId xmlns:a16="http://schemas.microsoft.com/office/drawing/2014/main" id="{F605D904-C4D3-EE58-A2BD-B3CDD68F499C}"/>
              </a:ext>
            </a:extLst>
          </p:cNvPr>
          <p:cNvSpPr/>
          <p:nvPr/>
        </p:nvSpPr>
        <p:spPr>
          <a:xfrm>
            <a:off x="30698661" y="13547330"/>
            <a:ext cx="1858273" cy="506198"/>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cs typeface="Times"/>
              </a:rPr>
              <a:t>Report</a:t>
            </a:r>
          </a:p>
        </p:txBody>
      </p:sp>
      <p:cxnSp>
        <p:nvCxnSpPr>
          <p:cNvPr id="168" name="Straight Arrow Connector 167">
            <a:extLst>
              <a:ext uri="{FF2B5EF4-FFF2-40B4-BE49-F238E27FC236}">
                <a16:creationId xmlns:a16="http://schemas.microsoft.com/office/drawing/2014/main" id="{BC5F3E84-319F-41F0-1FDE-7E99C154BA2D}"/>
              </a:ext>
            </a:extLst>
          </p:cNvPr>
          <p:cNvCxnSpPr>
            <a:cxnSpLocks/>
          </p:cNvCxnSpPr>
          <p:nvPr/>
        </p:nvCxnSpPr>
        <p:spPr>
          <a:xfrm>
            <a:off x="31665888" y="13157585"/>
            <a:ext cx="996" cy="30782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69" name="Table 168">
            <a:extLst>
              <a:ext uri="{FF2B5EF4-FFF2-40B4-BE49-F238E27FC236}">
                <a16:creationId xmlns:a16="http://schemas.microsoft.com/office/drawing/2014/main" id="{92665334-6A04-F620-733B-10B304B9D8E6}"/>
              </a:ext>
            </a:extLst>
          </p:cNvPr>
          <p:cNvGraphicFramePr>
            <a:graphicFrameLocks noGrp="1"/>
          </p:cNvGraphicFramePr>
          <p:nvPr>
            <p:extLst>
              <p:ext uri="{D42A27DB-BD31-4B8C-83A1-F6EECF244321}">
                <p14:modId xmlns:p14="http://schemas.microsoft.com/office/powerpoint/2010/main" val="382064202"/>
              </p:ext>
            </p:extLst>
          </p:nvPr>
        </p:nvGraphicFramePr>
        <p:xfrm>
          <a:off x="29598842" y="14409732"/>
          <a:ext cx="3209925" cy="680625"/>
        </p:xfrm>
        <a:graphic>
          <a:graphicData uri="http://schemas.openxmlformats.org/drawingml/2006/table">
            <a:tbl>
              <a:tblPr firstRow="1" firstCol="1" bandRow="1">
                <a:tableStyleId>{5C22544A-7EE6-4342-B048-85BDC9FD1C3A}</a:tableStyleId>
              </a:tblPr>
              <a:tblGrid>
                <a:gridCol w="1076325">
                  <a:extLst>
                    <a:ext uri="{9D8B030D-6E8A-4147-A177-3AD203B41FA5}">
                      <a16:colId xmlns:a16="http://schemas.microsoft.com/office/drawing/2014/main" val="1860262710"/>
                    </a:ext>
                  </a:extLst>
                </a:gridCol>
                <a:gridCol w="1104900">
                  <a:extLst>
                    <a:ext uri="{9D8B030D-6E8A-4147-A177-3AD203B41FA5}">
                      <a16:colId xmlns:a16="http://schemas.microsoft.com/office/drawing/2014/main" val="45932590"/>
                    </a:ext>
                  </a:extLst>
                </a:gridCol>
                <a:gridCol w="1028700">
                  <a:extLst>
                    <a:ext uri="{9D8B030D-6E8A-4147-A177-3AD203B41FA5}">
                      <a16:colId xmlns:a16="http://schemas.microsoft.com/office/drawing/2014/main" val="851900084"/>
                    </a:ext>
                  </a:extLst>
                </a:gridCol>
              </a:tblGrid>
              <a:tr h="223425">
                <a:tc>
                  <a:txBody>
                    <a:bodyPr/>
                    <a:lstStyle/>
                    <a:p>
                      <a:pPr algn="ctr" fontAlgn="base">
                        <a:lnSpc>
                          <a:spcPct val="107000"/>
                        </a:lnSpc>
                        <a:spcAft>
                          <a:spcPts val="800"/>
                        </a:spcAft>
                        <a:buNone/>
                      </a:pPr>
                      <a:r>
                        <a:rPr lang="en-US" sz="1000" b="1" kern="0" dirty="0">
                          <a:solidFill>
                            <a:srgbClr val="000000"/>
                          </a:solidFill>
                          <a:effectLst/>
                          <a:latin typeface="Franklin Gothic Book"/>
                          <a:ea typeface="Aptos" panose="020B0004020202020204" pitchFamily="34" charset="0"/>
                          <a:cs typeface="Times New Roman"/>
                        </a:rPr>
                        <a:t>Damage Part</a:t>
                      </a:r>
                      <a:endParaRPr lang="en-US" sz="1100" kern="100" dirty="0" err="1">
                        <a:effectLst/>
                        <a:latin typeface="Franklin Gothic Book"/>
                        <a:ea typeface="Aptos" panose="020B0004020202020204" pitchFamily="34" charset="0"/>
                        <a:cs typeface="Times New Roman"/>
                      </a:endParaRPr>
                    </a:p>
                  </a:txBody>
                  <a:tcPr marL="9525" marR="9525" marT="9525" marB="9525">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lvl="0" algn="ctr">
                        <a:lnSpc>
                          <a:spcPct val="107000"/>
                        </a:lnSpc>
                        <a:spcAft>
                          <a:spcPts val="800"/>
                        </a:spcAft>
                        <a:buNone/>
                      </a:pPr>
                      <a:r>
                        <a:rPr lang="en-US" sz="1000" b="1" kern="0" dirty="0" err="1">
                          <a:solidFill>
                            <a:srgbClr val="000000"/>
                          </a:solidFill>
                          <a:effectLst/>
                          <a:latin typeface="Franklin Gothic Book"/>
                          <a:ea typeface="Aptos" panose="020B0004020202020204" pitchFamily="34" charset="0"/>
                          <a:cs typeface="Times New Roman"/>
                        </a:rPr>
                        <a:t>Damge</a:t>
                      </a:r>
                      <a:r>
                        <a:rPr lang="en-US" sz="1000" b="1" kern="0" dirty="0">
                          <a:solidFill>
                            <a:srgbClr val="000000"/>
                          </a:solidFill>
                          <a:effectLst/>
                          <a:latin typeface="Franklin Gothic Book"/>
                          <a:ea typeface="Aptos" panose="020B0004020202020204" pitchFamily="34" charset="0"/>
                          <a:cs typeface="Times New Roman"/>
                        </a:rPr>
                        <a:t> Type</a:t>
                      </a:r>
                    </a:p>
                  </a:txBody>
                  <a:tcPr marL="9525" marR="9525" marT="9525" marB="9525">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a:solidFill>
                            <a:srgbClr val="000000"/>
                          </a:solidFill>
                          <a:effectLst/>
                          <a:latin typeface="Franklin Gothic Book"/>
                          <a:ea typeface="Aptos" panose="020B0004020202020204" pitchFamily="34" charset="0"/>
                          <a:cs typeface="Times New Roman"/>
                        </a:rPr>
                        <a:t>Severity</a:t>
                      </a:r>
                      <a:endParaRPr lang="en-US" sz="1100" kern="100" dirty="0" err="1">
                        <a:effectLst/>
                        <a:latin typeface="Franklin Gothic Book"/>
                        <a:ea typeface="Aptos" panose="020B0004020202020204" pitchFamily="34" charset="0"/>
                        <a:cs typeface="Times New Roman"/>
                      </a:endParaRPr>
                    </a:p>
                  </a:txBody>
                  <a:tcPr marL="9525" marR="9525" marT="9525" marB="9525">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518042999"/>
                  </a:ext>
                </a:extLst>
              </a:tr>
              <a:tr h="228600">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Left</a:t>
                      </a:r>
                      <a:endParaRPr lang="en-US" sz="1000" kern="0" dirty="0">
                        <a:solidFill>
                          <a:srgbClr val="000000"/>
                        </a:solidFill>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Tires</a:t>
                      </a:r>
                      <a:endParaRPr lang="en-US" sz="1000" kern="0" dirty="0">
                        <a:solidFill>
                          <a:srgbClr val="000000"/>
                        </a:solidFill>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lvl="0" algn="ctr">
                        <a:lnSpc>
                          <a:spcPct val="107000"/>
                        </a:lnSpc>
                        <a:spcAft>
                          <a:spcPts val="800"/>
                        </a:spcAft>
                        <a:buNone/>
                      </a:pPr>
                      <a:r>
                        <a:rPr lang="en-US" sz="1000" kern="0">
                          <a:solidFill>
                            <a:srgbClr val="000000"/>
                          </a:solidFill>
                          <a:effectLst/>
                          <a:latin typeface="Franklin Gothic Book"/>
                          <a:cs typeface="Times New Roman"/>
                        </a:rPr>
                        <a:t>Low</a:t>
                      </a:r>
                      <a:endParaRPr lang="en-US"/>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186864960"/>
                  </a:ext>
                </a:extLst>
              </a:tr>
              <a:tr h="228600">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Rear</a:t>
                      </a:r>
                      <a:endParaRPr lang="en-US" sz="1000" kern="0" dirty="0">
                        <a:solidFill>
                          <a:srgbClr val="000000"/>
                        </a:solidFill>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Wheels</a:t>
                      </a:r>
                      <a:endParaRPr lang="en-US" sz="1000" kern="0" dirty="0">
                        <a:solidFill>
                          <a:srgbClr val="000000"/>
                        </a:solidFill>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High</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710574170"/>
                  </a:ext>
                </a:extLst>
              </a:tr>
            </a:tbl>
          </a:graphicData>
        </a:graphic>
      </p:graphicFrame>
      <p:sp>
        <p:nvSpPr>
          <p:cNvPr id="127" name="TextBox 126">
            <a:extLst>
              <a:ext uri="{FF2B5EF4-FFF2-40B4-BE49-F238E27FC236}">
                <a16:creationId xmlns:a16="http://schemas.microsoft.com/office/drawing/2014/main" id="{7D889B63-D649-DC6B-0AF0-5CFE9B76FDCF}"/>
              </a:ext>
            </a:extLst>
          </p:cNvPr>
          <p:cNvSpPr txBox="1"/>
          <p:nvPr/>
        </p:nvSpPr>
        <p:spPr>
          <a:xfrm>
            <a:off x="33470856" y="13525361"/>
            <a:ext cx="1008162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800" dirty="0">
                <a:latin typeface="Times New Roman"/>
                <a:cs typeface="Segoe UI"/>
              </a:rPr>
              <a:t>Fig 6. </a:t>
            </a:r>
            <a:r>
              <a:rPr lang="en-US" sz="1800" dirty="0">
                <a:latin typeface="Times New Roman"/>
                <a:cs typeface="Arial"/>
              </a:rPr>
              <a:t>The timely and accurate attribution can result in </a:t>
            </a:r>
            <a:r>
              <a:rPr lang="en-US" sz="1800" b="1" dirty="0">
                <a:latin typeface="Times New Roman"/>
                <a:cs typeface="Arial"/>
              </a:rPr>
              <a:t>Annual </a:t>
            </a:r>
            <a:r>
              <a:rPr lang="en-US" sz="1800" dirty="0">
                <a:latin typeface="Times New Roman"/>
                <a:cs typeface="Arial"/>
              </a:rPr>
              <a:t>savings close to </a:t>
            </a:r>
            <a:r>
              <a:rPr lang="en-US" sz="1800" b="1" dirty="0">
                <a:latin typeface="Times New Roman"/>
                <a:cs typeface="Arial"/>
              </a:rPr>
              <a:t>USD 0.8 Million</a:t>
            </a:r>
            <a:endParaRPr lang="en-US" sz="1800">
              <a:latin typeface="Times New Roman"/>
              <a:cs typeface="Arial"/>
            </a:endParaRPr>
          </a:p>
        </p:txBody>
      </p:sp>
      <p:sp>
        <p:nvSpPr>
          <p:cNvPr id="50" name="Rectangle 49">
            <a:extLst>
              <a:ext uri="{FF2B5EF4-FFF2-40B4-BE49-F238E27FC236}">
                <a16:creationId xmlns:a16="http://schemas.microsoft.com/office/drawing/2014/main" id="{A4CEBC2F-3208-3E88-69DA-715035AB3208}"/>
              </a:ext>
            </a:extLst>
          </p:cNvPr>
          <p:cNvSpPr/>
          <p:nvPr/>
        </p:nvSpPr>
        <p:spPr>
          <a:xfrm>
            <a:off x="14429367" y="20161612"/>
            <a:ext cx="3785216" cy="382271"/>
          </a:xfrm>
          <a:prstGeom prst="rect">
            <a:avLst/>
          </a:prstGeom>
        </p:spPr>
        <p:txBody>
          <a:bodyPr wrap="square" lIns="91440" tIns="45720" rIns="91440" bIns="45720" anchor="t">
            <a:spAutoFit/>
          </a:bodyPr>
          <a:lstStyle/>
          <a:p>
            <a:r>
              <a:rPr lang="en-US" sz="1800">
                <a:solidFill>
                  <a:schemeClr val="tx1">
                    <a:lumMod val="95000"/>
                    <a:lumOff val="5000"/>
                  </a:schemeClr>
                </a:solidFill>
                <a:latin typeface="Times New Roman"/>
                <a:cs typeface="Times New Roman"/>
              </a:rPr>
              <a:t>Table 1. Literature Summary</a:t>
            </a:r>
            <a:endParaRPr lang="en-US" dirty="0">
              <a:solidFill>
                <a:schemeClr val="tx1">
                  <a:lumMod val="95000"/>
                  <a:lumOff val="5000"/>
                </a:schemeClr>
              </a:solidFill>
              <a:latin typeface="Times New Roman"/>
              <a:cs typeface="Times New Roman"/>
            </a:endParaRPr>
          </a:p>
        </p:txBody>
      </p:sp>
      <p:sp>
        <p:nvSpPr>
          <p:cNvPr id="59" name="Rectangle 106">
            <a:extLst>
              <a:ext uri="{FF2B5EF4-FFF2-40B4-BE49-F238E27FC236}">
                <a16:creationId xmlns:a16="http://schemas.microsoft.com/office/drawing/2014/main" id="{9CE15A68-DABB-75A9-76F0-1AA36B392E6A}"/>
              </a:ext>
            </a:extLst>
          </p:cNvPr>
          <p:cNvSpPr>
            <a:spLocks noChangeArrowheads="1"/>
          </p:cNvSpPr>
          <p:nvPr/>
        </p:nvSpPr>
        <p:spPr bwMode="auto">
          <a:xfrm>
            <a:off x="8247401" y="8310475"/>
            <a:ext cx="7860379" cy="1010853"/>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endParaRPr lang="en-US" sz="1800" spc="10" dirty="0">
              <a:solidFill>
                <a:srgbClr val="FF0000"/>
              </a:solidFill>
              <a:latin typeface="Arial" panose="020B0604020202020204" pitchFamily="34" charset="0"/>
              <a:cs typeface="Arial" panose="020B0604020202020204" pitchFamily="34" charset="0"/>
            </a:endParaRPr>
          </a:p>
        </p:txBody>
      </p:sp>
      <p:sp>
        <p:nvSpPr>
          <p:cNvPr id="2" name="Rectangle 106">
            <a:extLst>
              <a:ext uri="{FF2B5EF4-FFF2-40B4-BE49-F238E27FC236}">
                <a16:creationId xmlns:a16="http://schemas.microsoft.com/office/drawing/2014/main" id="{74BFA0C8-07A4-04E2-718B-596C6D417791}"/>
              </a:ext>
            </a:extLst>
          </p:cNvPr>
          <p:cNvSpPr>
            <a:spLocks noChangeArrowheads="1"/>
          </p:cNvSpPr>
          <p:nvPr/>
        </p:nvSpPr>
        <p:spPr bwMode="auto">
          <a:xfrm>
            <a:off x="504807" y="19028889"/>
            <a:ext cx="7860379" cy="1010853"/>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endParaRPr lang="en-US" sz="1800" spc="10" dirty="0">
              <a:solidFill>
                <a:srgbClr val="000000"/>
              </a:solidFill>
              <a:latin typeface="Arial"/>
              <a:cs typeface="Arial"/>
            </a:endParaRPr>
          </a:p>
          <a:p>
            <a:pPr algn="just"/>
            <a:endParaRPr lang="en-US" sz="1800" spc="10" dirty="0">
              <a:solidFill>
                <a:srgbClr val="FF0000"/>
              </a:solidFill>
              <a:latin typeface="Arial" panose="020B0604020202020204" pitchFamily="34" charset="0"/>
              <a:cs typeface="Arial" panose="020B0604020202020204" pitchFamily="34" charset="0"/>
            </a:endParaRPr>
          </a:p>
        </p:txBody>
      </p:sp>
      <p:sp>
        <p:nvSpPr>
          <p:cNvPr id="76" name="Rectangle 75">
            <a:extLst>
              <a:ext uri="{FF2B5EF4-FFF2-40B4-BE49-F238E27FC236}">
                <a16:creationId xmlns:a16="http://schemas.microsoft.com/office/drawing/2014/main" id="{BA7D9501-0A52-0F01-22B1-54F52851197A}"/>
              </a:ext>
            </a:extLst>
          </p:cNvPr>
          <p:cNvSpPr/>
          <p:nvPr/>
        </p:nvSpPr>
        <p:spPr>
          <a:xfrm>
            <a:off x="26128148" y="6155576"/>
            <a:ext cx="2814744" cy="369332"/>
          </a:xfrm>
          <a:prstGeom prst="rect">
            <a:avLst/>
          </a:prstGeom>
        </p:spPr>
        <p:txBody>
          <a:bodyPr wrap="square" lIns="91440" tIns="45720" rIns="91440" bIns="45720" anchor="t">
            <a:spAutoFit/>
          </a:bodyPr>
          <a:lstStyle/>
          <a:p>
            <a:pPr algn="ctr"/>
            <a:r>
              <a:rPr lang="en-US" sz="1800" dirty="0">
                <a:solidFill>
                  <a:schemeClr val="tx1">
                    <a:lumMod val="95000"/>
                    <a:lumOff val="5000"/>
                  </a:schemeClr>
                </a:solidFill>
                <a:latin typeface="Times New Roman"/>
                <a:cs typeface="Times"/>
              </a:rPr>
              <a:t>Fig 3. Toll Study Design</a:t>
            </a:r>
            <a:endParaRPr lang="en-US" dirty="0">
              <a:solidFill>
                <a:schemeClr val="tx1">
                  <a:lumMod val="95000"/>
                  <a:lumOff val="5000"/>
                </a:schemeClr>
              </a:solidFill>
            </a:endParaRPr>
          </a:p>
        </p:txBody>
      </p:sp>
      <p:sp>
        <p:nvSpPr>
          <p:cNvPr id="103" name="Rectangle 102">
            <a:extLst>
              <a:ext uri="{FF2B5EF4-FFF2-40B4-BE49-F238E27FC236}">
                <a16:creationId xmlns:a16="http://schemas.microsoft.com/office/drawing/2014/main" id="{45B6AA70-A6A0-4D3A-B553-FFCE4BE5266A}"/>
              </a:ext>
            </a:extLst>
          </p:cNvPr>
          <p:cNvSpPr/>
          <p:nvPr/>
        </p:nvSpPr>
        <p:spPr>
          <a:xfrm>
            <a:off x="26037570" y="15518040"/>
            <a:ext cx="3267631" cy="369332"/>
          </a:xfrm>
          <a:prstGeom prst="rect">
            <a:avLst/>
          </a:prstGeom>
        </p:spPr>
        <p:txBody>
          <a:bodyPr wrap="square" lIns="91440" tIns="45720" rIns="91440" bIns="45720" anchor="t">
            <a:spAutoFit/>
          </a:bodyPr>
          <a:lstStyle/>
          <a:p>
            <a:pPr algn="ctr"/>
            <a:r>
              <a:rPr lang="en-US" sz="1800" dirty="0">
                <a:solidFill>
                  <a:schemeClr val="tx1">
                    <a:lumMod val="95000"/>
                    <a:lumOff val="5000"/>
                  </a:schemeClr>
                </a:solidFill>
                <a:latin typeface="Times New Roman"/>
                <a:cs typeface="Times"/>
              </a:rPr>
              <a:t>Fig 4. Damage Study Design</a:t>
            </a:r>
            <a:endParaRPr lang="en-US" dirty="0">
              <a:solidFill>
                <a:schemeClr val="tx1">
                  <a:lumMod val="95000"/>
                  <a:lumOff val="5000"/>
                </a:schemeClr>
              </a:solidFill>
            </a:endParaRPr>
          </a:p>
        </p:txBody>
      </p:sp>
      <p:pic>
        <p:nvPicPr>
          <p:cNvPr id="125" name="Picture 124" descr="A graph with numbers and lines&#10;&#10;AI-generated content may be incorrect.">
            <a:extLst>
              <a:ext uri="{FF2B5EF4-FFF2-40B4-BE49-F238E27FC236}">
                <a16:creationId xmlns:a16="http://schemas.microsoft.com/office/drawing/2014/main" id="{AAAFA3EA-2B91-6D8C-7410-6F4258FF05BC}"/>
              </a:ext>
            </a:extLst>
          </p:cNvPr>
          <p:cNvPicPr>
            <a:picLocks noChangeAspect="1"/>
          </p:cNvPicPr>
          <p:nvPr/>
        </p:nvPicPr>
        <p:blipFill>
          <a:blip r:embed="rId19"/>
          <a:srcRect l="3196" t="6862" r="-205" b="4257"/>
          <a:stretch/>
        </p:blipFill>
        <p:spPr>
          <a:xfrm>
            <a:off x="34147432" y="9439087"/>
            <a:ext cx="9004882" cy="4053601"/>
          </a:xfrm>
          <a:prstGeom prst="rect">
            <a:avLst/>
          </a:prstGeom>
        </p:spPr>
      </p:pic>
      <p:pic>
        <p:nvPicPr>
          <p:cNvPr id="128" name="Picture 127" descr="A logo with a green arrow&#10;&#10;AI-generated content may be incorrect.">
            <a:extLst>
              <a:ext uri="{FF2B5EF4-FFF2-40B4-BE49-F238E27FC236}">
                <a16:creationId xmlns:a16="http://schemas.microsoft.com/office/drawing/2014/main" id="{18EF17E8-A4BE-C1C3-704A-6A7F798CDE20}"/>
              </a:ext>
            </a:extLst>
          </p:cNvPr>
          <p:cNvPicPr>
            <a:picLocks noChangeAspect="1"/>
          </p:cNvPicPr>
          <p:nvPr/>
        </p:nvPicPr>
        <p:blipFill>
          <a:blip r:embed="rId20"/>
          <a:stretch>
            <a:fillRect/>
          </a:stretch>
        </p:blipFill>
        <p:spPr>
          <a:xfrm>
            <a:off x="29573763" y="-760095"/>
            <a:ext cx="5608318" cy="4263389"/>
          </a:xfrm>
          <a:prstGeom prst="rect">
            <a:avLst/>
          </a:prstGeom>
        </p:spPr>
      </p:pic>
      <p:sp>
        <p:nvSpPr>
          <p:cNvPr id="144" name="Parallelogram 143">
            <a:extLst>
              <a:ext uri="{FF2B5EF4-FFF2-40B4-BE49-F238E27FC236}">
                <a16:creationId xmlns:a16="http://schemas.microsoft.com/office/drawing/2014/main" id="{D9896F24-F41D-BF2D-B98F-6652EE6DFE0D}"/>
              </a:ext>
            </a:extLst>
          </p:cNvPr>
          <p:cNvSpPr/>
          <p:nvPr/>
        </p:nvSpPr>
        <p:spPr bwMode="auto">
          <a:xfrm>
            <a:off x="11746777" y="1202972"/>
            <a:ext cx="16992440" cy="1373505"/>
          </a:xfrm>
          <a:prstGeom prst="parallelogram">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spcBef>
                <a:spcPct val="20000"/>
              </a:spcBef>
            </a:pPr>
            <a:r>
              <a:rPr lang="en-US" sz="2000" dirty="0">
                <a:solidFill>
                  <a:schemeClr val="bg1"/>
                </a:solidFill>
                <a:latin typeface="Times New Roman"/>
                <a:cs typeface="Times New Roman"/>
              </a:rPr>
              <a:t>Ananth Mohan, Farha Shireen, Hsueh-Ning Chao, Shih Min Lin, Tanvir Ahmed Farook, Yao Liu, Yijun Wang </a:t>
            </a:r>
            <a:br>
              <a:rPr lang="en-US" sz="2000" dirty="0">
                <a:latin typeface="Times New Roman"/>
                <a:cs typeface="Times New Roman"/>
              </a:rPr>
            </a:br>
            <a:r>
              <a:rPr lang="en-US" sz="2000" dirty="0">
                <a:solidFill>
                  <a:schemeClr val="bg1"/>
                </a:solidFill>
                <a:latin typeface="Times New Roman"/>
                <a:cs typeface="Times New Roman"/>
              </a:rPr>
              <a:t>Under the guidance of Dr. Shoaib Khan </a:t>
            </a:r>
            <a:endParaRPr lang="en-IN" sz="2000">
              <a:solidFill>
                <a:schemeClr val="bg1"/>
              </a:solidFill>
              <a:latin typeface="Times New Roman"/>
              <a:cs typeface="Times New Roman"/>
            </a:endParaRPr>
          </a:p>
          <a:p>
            <a:pPr algn="ctr">
              <a:spcBef>
                <a:spcPct val="20000"/>
              </a:spcBef>
            </a:pPr>
            <a:r>
              <a:rPr lang="en-IN" sz="2400" b="1" dirty="0">
                <a:solidFill>
                  <a:schemeClr val="bg1"/>
                </a:solidFill>
                <a:latin typeface="Times New Roman"/>
                <a:cs typeface="Times New Roman"/>
              </a:rPr>
              <a:t>Purdue University, Daniels School of Business</a:t>
            </a:r>
            <a:endParaRPr lang="en-GB" sz="2400" dirty="0">
              <a:solidFill>
                <a:schemeClr val="bg1"/>
              </a:solidFill>
              <a:latin typeface="Times New Roman"/>
              <a:cs typeface="Times New Roman"/>
            </a:endParaRPr>
          </a:p>
          <a:p>
            <a:pPr algn="ctr">
              <a:spcBef>
                <a:spcPct val="20000"/>
              </a:spcBef>
            </a:pPr>
            <a:endParaRPr lang="en-US" sz="1200" dirty="0">
              <a:solidFill>
                <a:schemeClr val="bg1"/>
              </a:solidFill>
              <a:latin typeface="Times New Roman"/>
              <a:cs typeface="Times New Roman"/>
            </a:endParaRPr>
          </a:p>
        </p:txBody>
      </p:sp>
      <p:pic>
        <p:nvPicPr>
          <p:cNvPr id="96" name="Picture 95" descr="A person smiling at the camera&#10;&#10;AI-generated content may be incorrect.">
            <a:extLst>
              <a:ext uri="{FF2B5EF4-FFF2-40B4-BE49-F238E27FC236}">
                <a16:creationId xmlns:a16="http://schemas.microsoft.com/office/drawing/2014/main" id="{A52BDF3A-49B0-1789-73DE-D42C0CC592EE}"/>
              </a:ext>
            </a:extLst>
          </p:cNvPr>
          <p:cNvPicPr>
            <a:picLocks noChangeAspect="1"/>
          </p:cNvPicPr>
          <p:nvPr/>
        </p:nvPicPr>
        <p:blipFill>
          <a:blip r:embed="rId21"/>
          <a:stretch>
            <a:fillRect/>
          </a:stretch>
        </p:blipFill>
        <p:spPr>
          <a:xfrm>
            <a:off x="1922562" y="1111672"/>
            <a:ext cx="1600201" cy="1611630"/>
          </a:xfrm>
          <a:prstGeom prst="flowChartConnector">
            <a:avLst/>
          </a:prstGeom>
        </p:spPr>
      </p:pic>
      <p:pic>
        <p:nvPicPr>
          <p:cNvPr id="104" name="Picture 103" descr="A person in a suit&#10;&#10;AI-generated content may be incorrect.">
            <a:extLst>
              <a:ext uri="{FF2B5EF4-FFF2-40B4-BE49-F238E27FC236}">
                <a16:creationId xmlns:a16="http://schemas.microsoft.com/office/drawing/2014/main" id="{624566D9-592C-97DB-A60C-F3757C68DAFD}"/>
              </a:ext>
            </a:extLst>
          </p:cNvPr>
          <p:cNvPicPr>
            <a:picLocks noChangeAspect="1"/>
          </p:cNvPicPr>
          <p:nvPr/>
        </p:nvPicPr>
        <p:blipFill>
          <a:blip r:embed="rId22"/>
          <a:stretch>
            <a:fillRect/>
          </a:stretch>
        </p:blipFill>
        <p:spPr>
          <a:xfrm>
            <a:off x="12719013" y="1111672"/>
            <a:ext cx="1600201" cy="1611630"/>
          </a:xfrm>
          <a:prstGeom prst="flowChartConnector">
            <a:avLst/>
          </a:prstGeom>
        </p:spPr>
      </p:pic>
      <p:pic>
        <p:nvPicPr>
          <p:cNvPr id="141" name="Picture 140" descr="A person wearing glasses and smiling&#10;&#10;AI-generated content may be incorrect.">
            <a:extLst>
              <a:ext uri="{FF2B5EF4-FFF2-40B4-BE49-F238E27FC236}">
                <a16:creationId xmlns:a16="http://schemas.microsoft.com/office/drawing/2014/main" id="{9E30B208-9BC2-1569-61A9-87FC3FD21D69}"/>
              </a:ext>
            </a:extLst>
          </p:cNvPr>
          <p:cNvPicPr>
            <a:picLocks noChangeAspect="1"/>
          </p:cNvPicPr>
          <p:nvPr/>
        </p:nvPicPr>
        <p:blipFill>
          <a:blip r:embed="rId23"/>
          <a:stretch>
            <a:fillRect/>
          </a:stretch>
        </p:blipFill>
        <p:spPr>
          <a:xfrm>
            <a:off x="9143056" y="1111672"/>
            <a:ext cx="1600201" cy="1611630"/>
          </a:xfrm>
          <a:prstGeom prst="flowChartConnector">
            <a:avLst/>
          </a:prstGeom>
        </p:spPr>
      </p:pic>
      <p:pic>
        <p:nvPicPr>
          <p:cNvPr id="143" name="Picture 142" descr="A person with short dark hair wearing a grey suit&#10;&#10;AI-generated content may be incorrect.">
            <a:extLst>
              <a:ext uri="{FF2B5EF4-FFF2-40B4-BE49-F238E27FC236}">
                <a16:creationId xmlns:a16="http://schemas.microsoft.com/office/drawing/2014/main" id="{8DEABE2D-3E8C-D11F-F231-1CFE7846E16E}"/>
              </a:ext>
            </a:extLst>
          </p:cNvPr>
          <p:cNvPicPr>
            <a:picLocks noChangeAspect="1"/>
          </p:cNvPicPr>
          <p:nvPr/>
        </p:nvPicPr>
        <p:blipFill>
          <a:blip r:embed="rId24"/>
          <a:stretch>
            <a:fillRect/>
          </a:stretch>
        </p:blipFill>
        <p:spPr>
          <a:xfrm>
            <a:off x="5498519" y="1111672"/>
            <a:ext cx="1600201" cy="1611630"/>
          </a:xfrm>
          <a:prstGeom prst="flowChartConnector">
            <a:avLst/>
          </a:prstGeom>
        </p:spPr>
      </p:pic>
      <p:pic>
        <p:nvPicPr>
          <p:cNvPr id="145" name="Picture 144" descr="A person smiling for a picture&#10;&#10;AI-generated content may be incorrect.">
            <a:extLst>
              <a:ext uri="{FF2B5EF4-FFF2-40B4-BE49-F238E27FC236}">
                <a16:creationId xmlns:a16="http://schemas.microsoft.com/office/drawing/2014/main" id="{145ED0D3-ADC2-B1D0-E145-ADD653311806}"/>
              </a:ext>
            </a:extLst>
          </p:cNvPr>
          <p:cNvPicPr>
            <a:picLocks noChangeAspect="1"/>
          </p:cNvPicPr>
          <p:nvPr/>
        </p:nvPicPr>
        <p:blipFill>
          <a:blip r:embed="rId25"/>
          <a:stretch>
            <a:fillRect/>
          </a:stretch>
        </p:blipFill>
        <p:spPr>
          <a:xfrm>
            <a:off x="100293" y="1111672"/>
            <a:ext cx="1600201" cy="1611630"/>
          </a:xfrm>
          <a:prstGeom prst="flowChartConnector">
            <a:avLst/>
          </a:prstGeom>
        </p:spPr>
      </p:pic>
      <p:pic>
        <p:nvPicPr>
          <p:cNvPr id="146" name="Picture 145" descr="A person wearing glasses and a white shirt&#10;&#10;AI-generated content may be incorrect.">
            <a:extLst>
              <a:ext uri="{FF2B5EF4-FFF2-40B4-BE49-F238E27FC236}">
                <a16:creationId xmlns:a16="http://schemas.microsoft.com/office/drawing/2014/main" id="{0A689232-EBF6-2E1D-C618-86C047A72C5F}"/>
              </a:ext>
            </a:extLst>
          </p:cNvPr>
          <p:cNvPicPr>
            <a:picLocks noChangeAspect="1"/>
          </p:cNvPicPr>
          <p:nvPr/>
        </p:nvPicPr>
        <p:blipFill>
          <a:blip r:embed="rId26"/>
          <a:stretch>
            <a:fillRect/>
          </a:stretch>
        </p:blipFill>
        <p:spPr>
          <a:xfrm>
            <a:off x="7320787" y="1111672"/>
            <a:ext cx="1600201" cy="1611630"/>
          </a:xfrm>
          <a:prstGeom prst="flowChartConnector">
            <a:avLst/>
          </a:prstGeom>
        </p:spPr>
      </p:pic>
      <p:pic>
        <p:nvPicPr>
          <p:cNvPr id="85" name="Picture 84" descr="Profile photo of Yijun Wang">
            <a:extLst>
              <a:ext uri="{FF2B5EF4-FFF2-40B4-BE49-F238E27FC236}">
                <a16:creationId xmlns:a16="http://schemas.microsoft.com/office/drawing/2014/main" id="{EB71C86C-84C8-655C-E674-F6496B8EE408}"/>
              </a:ext>
            </a:extLst>
          </p:cNvPr>
          <p:cNvPicPr>
            <a:picLocks noChangeAspect="1"/>
          </p:cNvPicPr>
          <p:nvPr/>
        </p:nvPicPr>
        <p:blipFill>
          <a:blip r:embed="rId27"/>
          <a:stretch>
            <a:fillRect/>
          </a:stretch>
        </p:blipFill>
        <p:spPr>
          <a:xfrm>
            <a:off x="10931034" y="1111672"/>
            <a:ext cx="1588704" cy="1603635"/>
          </a:xfrm>
          <a:prstGeom prst="flowChartConnector">
            <a:avLst/>
          </a:prstGeom>
        </p:spPr>
      </p:pic>
      <p:pic>
        <p:nvPicPr>
          <p:cNvPr id="113" name="Picture 112" descr="Profile photo of Hsueh-Ning Chao">
            <a:extLst>
              <a:ext uri="{FF2B5EF4-FFF2-40B4-BE49-F238E27FC236}">
                <a16:creationId xmlns:a16="http://schemas.microsoft.com/office/drawing/2014/main" id="{7B2956C2-9C1A-DD2D-58AC-F9B8D6F7DB35}"/>
              </a:ext>
            </a:extLst>
          </p:cNvPr>
          <p:cNvPicPr>
            <a:picLocks noChangeAspect="1"/>
          </p:cNvPicPr>
          <p:nvPr/>
        </p:nvPicPr>
        <p:blipFill>
          <a:blip r:embed="rId28"/>
          <a:stretch>
            <a:fillRect/>
          </a:stretch>
        </p:blipFill>
        <p:spPr>
          <a:xfrm>
            <a:off x="3710540" y="1128817"/>
            <a:ext cx="1600200" cy="1609725"/>
          </a:xfrm>
          <a:prstGeom prst="rect">
            <a:avLst/>
          </a:prstGeom>
        </p:spPr>
      </p:pic>
      <p:pic>
        <p:nvPicPr>
          <p:cNvPr id="41" name="Picture 40" descr="A qr code with black squares&#10;&#10;AI-generated content may be incorrect.">
            <a:extLst>
              <a:ext uri="{FF2B5EF4-FFF2-40B4-BE49-F238E27FC236}">
                <a16:creationId xmlns:a16="http://schemas.microsoft.com/office/drawing/2014/main" id="{129A5653-E4BD-293E-A3C1-7892A3DEDAD1}"/>
              </a:ext>
            </a:extLst>
          </p:cNvPr>
          <p:cNvPicPr>
            <a:picLocks noChangeAspect="1"/>
          </p:cNvPicPr>
          <p:nvPr/>
        </p:nvPicPr>
        <p:blipFill>
          <a:blip r:embed="rId29"/>
          <a:stretch>
            <a:fillRect/>
          </a:stretch>
        </p:blipFill>
        <p:spPr>
          <a:xfrm>
            <a:off x="27172847" y="1164205"/>
            <a:ext cx="1437020" cy="1398202"/>
          </a:xfrm>
          <a:prstGeom prst="rect">
            <a:avLst/>
          </a:prstGeom>
        </p:spPr>
      </p:pic>
      <p:cxnSp>
        <p:nvCxnSpPr>
          <p:cNvPr id="136" name="Straight Arrow Connector 135">
            <a:extLst>
              <a:ext uri="{FF2B5EF4-FFF2-40B4-BE49-F238E27FC236}">
                <a16:creationId xmlns:a16="http://schemas.microsoft.com/office/drawing/2014/main" id="{56C7BEE3-1B9D-F4AD-C7D7-2B1AA1F76288}"/>
              </a:ext>
            </a:extLst>
          </p:cNvPr>
          <p:cNvCxnSpPr>
            <a:cxnSpLocks/>
          </p:cNvCxnSpPr>
          <p:nvPr/>
        </p:nvCxnSpPr>
        <p:spPr>
          <a:xfrm>
            <a:off x="31446931" y="5367624"/>
            <a:ext cx="3212" cy="50228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383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0177F-46E3-69F4-F2D7-7B2B801C0AF2}"/>
            </a:ext>
          </a:extLst>
        </p:cNvPr>
        <p:cNvGrpSpPr/>
        <p:nvPr/>
      </p:nvGrpSpPr>
      <p:grpSpPr>
        <a:xfrm>
          <a:off x="0" y="0"/>
          <a:ext cx="0" cy="0"/>
          <a:chOff x="0" y="0"/>
          <a:chExt cx="0" cy="0"/>
        </a:xfrm>
      </p:grpSpPr>
      <p:pic>
        <p:nvPicPr>
          <p:cNvPr id="4" name="Black Bar">
            <a:extLst>
              <a:ext uri="{FF2B5EF4-FFF2-40B4-BE49-F238E27FC236}">
                <a16:creationId xmlns:a16="http://schemas.microsoft.com/office/drawing/2014/main" id="{486A0C58-EC79-1171-04D5-69D65D61C307}"/>
              </a:ext>
            </a:extLst>
          </p:cNvPr>
          <p:cNvPicPr>
            <a:picLocks noChangeAspect="1"/>
          </p:cNvPicPr>
          <p:nvPr/>
        </p:nvPicPr>
        <p:blipFill>
          <a:blip r:embed="rId2"/>
          <a:stretch>
            <a:fillRect/>
          </a:stretch>
        </p:blipFill>
        <p:spPr>
          <a:xfrm>
            <a:off x="10475" y="19697"/>
            <a:ext cx="29752972" cy="2807800"/>
          </a:xfrm>
          <a:prstGeom prst="rect">
            <a:avLst/>
          </a:prstGeom>
        </p:spPr>
      </p:pic>
      <p:sp>
        <p:nvSpPr>
          <p:cNvPr id="5" name="Text Box 126">
            <a:extLst>
              <a:ext uri="{FF2B5EF4-FFF2-40B4-BE49-F238E27FC236}">
                <a16:creationId xmlns:a16="http://schemas.microsoft.com/office/drawing/2014/main" id="{D4253DBF-C5E1-107A-A92F-3342904DDE9F}"/>
              </a:ext>
            </a:extLst>
          </p:cNvPr>
          <p:cNvSpPr txBox="1">
            <a:spLocks noChangeArrowheads="1"/>
          </p:cNvSpPr>
          <p:nvPr/>
        </p:nvSpPr>
        <p:spPr bwMode="auto">
          <a:xfrm>
            <a:off x="571381" y="90457"/>
            <a:ext cx="29329915"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a:spcBef>
                <a:spcPct val="50000"/>
              </a:spcBef>
            </a:pPr>
            <a:r>
              <a:rPr lang="en-US" altLang="en-US" sz="5400" b="1" dirty="0">
                <a:solidFill>
                  <a:schemeClr val="bg1"/>
                </a:solidFill>
                <a:latin typeface="Times New Roman"/>
                <a:cs typeface="Arial"/>
              </a:rPr>
              <a:t>Using Predictive Analytics in Logistics Industry to Associate Tolls and Damages to Customers</a:t>
            </a:r>
          </a:p>
        </p:txBody>
      </p:sp>
      <p:sp>
        <p:nvSpPr>
          <p:cNvPr id="46" name="Rectangle 45">
            <a:extLst>
              <a:ext uri="{FF2B5EF4-FFF2-40B4-BE49-F238E27FC236}">
                <a16:creationId xmlns:a16="http://schemas.microsoft.com/office/drawing/2014/main" id="{128408B0-2E53-67DC-0B76-B79941F975F2}"/>
              </a:ext>
            </a:extLst>
          </p:cNvPr>
          <p:cNvSpPr/>
          <p:nvPr/>
        </p:nvSpPr>
        <p:spPr>
          <a:xfrm>
            <a:off x="9992438" y="3629506"/>
            <a:ext cx="5401800" cy="523220"/>
          </a:xfrm>
          <a:prstGeom prst="rect">
            <a:avLst/>
          </a:prstGeom>
        </p:spPr>
        <p:txBody>
          <a:bodyPr wrap="square" lIns="91440" tIns="45720" rIns="91440" bIns="45720" anchor="t">
            <a:spAutoFit/>
          </a:bodyPr>
          <a:lstStyle/>
          <a:p>
            <a:r>
              <a:rPr lang="en-US" altLang="en-US" sz="2800" b="1" dirty="0">
                <a:solidFill>
                  <a:schemeClr val="bg2">
                    <a:lumMod val="49000"/>
                  </a:schemeClr>
                </a:solidFill>
                <a:latin typeface="Times New Roman"/>
                <a:cs typeface="Arial"/>
              </a:rPr>
              <a:t>RESEARCH OBJECTIVES</a:t>
            </a:r>
            <a:endParaRPr lang="en-US" sz="2800" b="1">
              <a:solidFill>
                <a:schemeClr val="bg2">
                  <a:lumMod val="49000"/>
                </a:schemeClr>
              </a:solidFill>
              <a:latin typeface="Times New Roman"/>
              <a:cs typeface="Arial"/>
            </a:endParaRPr>
          </a:p>
        </p:txBody>
      </p:sp>
      <p:sp>
        <p:nvSpPr>
          <p:cNvPr id="44" name="Rectangle 106">
            <a:extLst>
              <a:ext uri="{FF2B5EF4-FFF2-40B4-BE49-F238E27FC236}">
                <a16:creationId xmlns:a16="http://schemas.microsoft.com/office/drawing/2014/main" id="{F3358298-A61B-585C-693F-B9E05EA84E2B}"/>
              </a:ext>
            </a:extLst>
          </p:cNvPr>
          <p:cNvSpPr>
            <a:spLocks noChangeArrowheads="1"/>
          </p:cNvSpPr>
          <p:nvPr/>
        </p:nvSpPr>
        <p:spPr bwMode="auto">
          <a:xfrm>
            <a:off x="533774" y="15660592"/>
            <a:ext cx="8727334" cy="126455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dirty="0">
                <a:latin typeface="Times"/>
                <a:cs typeface="Arial"/>
              </a:rPr>
              <a:t>Our approach enhances transparency with an interpretable model, reduces disputes, and streamlines operations for subscription-based trailer access model providers and customers.</a:t>
            </a:r>
            <a:endParaRPr lang="en-US" sz="2000" spc="10">
              <a:solidFill>
                <a:srgbClr val="000000"/>
              </a:solidFill>
              <a:latin typeface="Times"/>
              <a:cs typeface="Arial"/>
            </a:endParaRPr>
          </a:p>
          <a:p>
            <a:pPr algn="just"/>
            <a:endParaRPr lang="en-US" sz="2000" spc="10" dirty="0">
              <a:solidFill>
                <a:srgbClr val="FF0000"/>
              </a:solidFill>
              <a:latin typeface="Times New Roman"/>
              <a:cs typeface="Arial" panose="020B0604020202020204" pitchFamily="34" charset="0"/>
            </a:endParaRPr>
          </a:p>
        </p:txBody>
      </p:sp>
      <p:sp>
        <p:nvSpPr>
          <p:cNvPr id="47" name="TextBox 46">
            <a:extLst>
              <a:ext uri="{FF2B5EF4-FFF2-40B4-BE49-F238E27FC236}">
                <a16:creationId xmlns:a16="http://schemas.microsoft.com/office/drawing/2014/main" id="{07E0DD1A-7B39-59B9-3A3A-EA3C42D7D74A}"/>
              </a:ext>
            </a:extLst>
          </p:cNvPr>
          <p:cNvSpPr txBox="1"/>
          <p:nvPr/>
        </p:nvSpPr>
        <p:spPr>
          <a:xfrm>
            <a:off x="9992438" y="4270329"/>
            <a:ext cx="11424112" cy="1630511"/>
          </a:xfrm>
          <a:prstGeom prst="rect">
            <a:avLst/>
          </a:prstGeom>
          <a:noFill/>
        </p:spPr>
        <p:txBody>
          <a:bodyPr wrap="square" lIns="91440" tIns="45720" rIns="91440" bIns="45720" rtlCol="0" anchor="t">
            <a:spAutoFit/>
          </a:bodyPr>
          <a:lstStyle/>
          <a:p>
            <a:pPr marL="457200" indent="-457200" algn="just">
              <a:buAutoNum type="arabicPeriod"/>
            </a:pPr>
            <a:r>
              <a:rPr lang="en-US" sz="2000" dirty="0">
                <a:latin typeface="Times"/>
                <a:cs typeface="Times"/>
              </a:rPr>
              <a:t>To identify predictive modeling approaches and data analytics systems that can improve the accuracy and efficiency of toll attribution in a subscription-based trailer access model.</a:t>
            </a:r>
            <a:endParaRPr lang="en-US" sz="2000" dirty="0">
              <a:latin typeface="Times New Roman"/>
              <a:cs typeface="Arial"/>
            </a:endParaRPr>
          </a:p>
          <a:p>
            <a:pPr marL="457200" indent="-457200" algn="just">
              <a:buAutoNum type="arabicPeriod"/>
            </a:pPr>
            <a:r>
              <a:rPr lang="en-US" sz="2000" dirty="0">
                <a:latin typeface="Times New Roman"/>
                <a:cs typeface="Times"/>
              </a:rPr>
              <a:t>To establish methods that enhance trailer damage monitoring together with attribution processes despite existing inspection irregularities and trailer exchange frequency.</a:t>
            </a:r>
            <a:endParaRPr lang="en-US" sz="2000">
              <a:latin typeface="Times New Roman"/>
              <a:cs typeface="Times" charset="0"/>
            </a:endParaRPr>
          </a:p>
          <a:p>
            <a:pPr algn="just">
              <a:lnSpc>
                <a:spcPct val="107000"/>
              </a:lnSpc>
              <a:spcBef>
                <a:spcPts val="0"/>
              </a:spcBef>
              <a:spcAft>
                <a:spcPts val="800"/>
              </a:spcAft>
            </a:pPr>
            <a:endParaRPr lang="en-US" sz="2000" b="1" dirty="0">
              <a:latin typeface="Times New Roman"/>
              <a:cs typeface="Arial" panose="020B0604020202020204" pitchFamily="34" charset="0"/>
            </a:endParaRPr>
          </a:p>
        </p:txBody>
      </p:sp>
      <p:sp>
        <p:nvSpPr>
          <p:cNvPr id="9" name="Rectangle 8">
            <a:extLst>
              <a:ext uri="{FF2B5EF4-FFF2-40B4-BE49-F238E27FC236}">
                <a16:creationId xmlns:a16="http://schemas.microsoft.com/office/drawing/2014/main" id="{19AB2F9E-4684-0522-4915-E83244C7D050}"/>
              </a:ext>
            </a:extLst>
          </p:cNvPr>
          <p:cNvSpPr/>
          <p:nvPr/>
        </p:nvSpPr>
        <p:spPr>
          <a:xfrm>
            <a:off x="549483" y="3625980"/>
            <a:ext cx="2891267" cy="523220"/>
          </a:xfrm>
          <a:prstGeom prst="rect">
            <a:avLst/>
          </a:prstGeom>
        </p:spPr>
        <p:txBody>
          <a:bodyPr wrap="square" lIns="91440" tIns="45720" rIns="91440" bIns="45720" anchor="t">
            <a:spAutoFit/>
          </a:bodyPr>
          <a:lstStyle/>
          <a:p>
            <a:r>
              <a:rPr lang="en-US" altLang="en-US" sz="2800" b="1" dirty="0">
                <a:solidFill>
                  <a:schemeClr val="bg2">
                    <a:lumMod val="49000"/>
                  </a:schemeClr>
                </a:solidFill>
                <a:latin typeface="Times New Roman"/>
                <a:cs typeface="Times New Roman"/>
              </a:rPr>
              <a:t>ABSTRACT</a:t>
            </a:r>
          </a:p>
        </p:txBody>
      </p:sp>
      <p:sp>
        <p:nvSpPr>
          <p:cNvPr id="10" name="Rectangle 106">
            <a:extLst>
              <a:ext uri="{FF2B5EF4-FFF2-40B4-BE49-F238E27FC236}">
                <a16:creationId xmlns:a16="http://schemas.microsoft.com/office/drawing/2014/main" id="{E12A2CB5-31B3-B8A1-AC34-E6539E91DD51}"/>
              </a:ext>
            </a:extLst>
          </p:cNvPr>
          <p:cNvSpPr>
            <a:spLocks noChangeArrowheads="1"/>
          </p:cNvSpPr>
          <p:nvPr/>
        </p:nvSpPr>
        <p:spPr bwMode="auto">
          <a:xfrm>
            <a:off x="476073" y="3935779"/>
            <a:ext cx="8627697" cy="1641754"/>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dirty="0">
                <a:latin typeface="Times"/>
                <a:cs typeface="Times"/>
              </a:rPr>
              <a:t>A predictive system integrating telematics and images from trailer activities is developed in this study to enhance cost attribution, as well as toll and damage tracking in the logistics business model. The goal is to automate trailer toll data attribution and improve damage detection by leveraging telematics data and applying image classification with deep learning. The results will contribute to the automation of damage identification and severity assessment, the aggregation of tolls with the corresponding trip, and the proper attribution to the correct parties in the freight chain</a:t>
            </a:r>
            <a:r>
              <a:rPr lang="en-US" sz="2000" spc="10" dirty="0">
                <a:latin typeface="Times"/>
                <a:cs typeface="Times"/>
                <a:sym typeface="Wingdings" panose="05000000000000000000" pitchFamily="2" charset="2"/>
              </a:rPr>
              <a:t>.</a:t>
            </a:r>
            <a:endParaRPr lang="en-US" dirty="0"/>
          </a:p>
        </p:txBody>
      </p:sp>
      <p:sp>
        <p:nvSpPr>
          <p:cNvPr id="12" name="Rectangle 11">
            <a:extLst>
              <a:ext uri="{FF2B5EF4-FFF2-40B4-BE49-F238E27FC236}">
                <a16:creationId xmlns:a16="http://schemas.microsoft.com/office/drawing/2014/main" id="{C4D7C6B9-9708-E4DB-DA17-00BBDBB95B30}"/>
              </a:ext>
            </a:extLst>
          </p:cNvPr>
          <p:cNvSpPr/>
          <p:nvPr/>
        </p:nvSpPr>
        <p:spPr>
          <a:xfrm>
            <a:off x="476073" y="6859991"/>
            <a:ext cx="3480990"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New Roman"/>
                <a:cs typeface="Arial"/>
              </a:rPr>
              <a:t>INTRODUCTION</a:t>
            </a:r>
          </a:p>
        </p:txBody>
      </p:sp>
      <p:sp>
        <p:nvSpPr>
          <p:cNvPr id="13" name="Rectangle 106">
            <a:extLst>
              <a:ext uri="{FF2B5EF4-FFF2-40B4-BE49-F238E27FC236}">
                <a16:creationId xmlns:a16="http://schemas.microsoft.com/office/drawing/2014/main" id="{C60A1247-0AC1-E763-5FF5-906DD09F96E5}"/>
              </a:ext>
            </a:extLst>
          </p:cNvPr>
          <p:cNvSpPr>
            <a:spLocks noChangeArrowheads="1"/>
          </p:cNvSpPr>
          <p:nvPr/>
        </p:nvSpPr>
        <p:spPr bwMode="auto">
          <a:xfrm>
            <a:off x="412930" y="7223378"/>
            <a:ext cx="8718973" cy="4923927"/>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dirty="0">
                <a:solidFill>
                  <a:srgbClr val="000000"/>
                </a:solidFill>
                <a:latin typeface="Times New Roman"/>
                <a:cs typeface="Times"/>
              </a:rPr>
              <a:t>Traditional 3PL logistics business models face challenges in balancing capacity and efficiency. Directly owning trailer assets requires a huge initial investment and ongoing maintenance costs, making capacity highly inflexible and leading to potential losses due to asset downtime. A </a:t>
            </a:r>
            <a:r>
              <a:rPr lang="en-US" sz="2000" b="1" spc="10" dirty="0">
                <a:solidFill>
                  <a:srgbClr val="000000"/>
                </a:solidFill>
                <a:latin typeface="Times New Roman"/>
                <a:cs typeface="Times"/>
              </a:rPr>
              <a:t>subscription-based trailer access model</a:t>
            </a:r>
            <a:r>
              <a:rPr lang="en-US" sz="2000" spc="10" dirty="0">
                <a:solidFill>
                  <a:srgbClr val="000000"/>
                </a:solidFill>
                <a:latin typeface="Times New Roman"/>
                <a:cs typeface="Times"/>
              </a:rPr>
              <a:t> offers a flexible solution to this challenge. Companies subscribe to trailer capacity, while the provider handles maintenance. This approach addresses the pain points of inflexible, seasonal capacity and high capital investment, expanding opportunities not only for 3PLs but also for brokers and carriers.</a:t>
            </a:r>
            <a:endParaRPr lang="en-US" sz="2000">
              <a:latin typeface="Times New Roman"/>
              <a:cs typeface="Times"/>
            </a:endParaRPr>
          </a:p>
          <a:p>
            <a:pPr algn="just"/>
            <a:endParaRPr lang="en-US" sz="2000" spc="10" dirty="0">
              <a:solidFill>
                <a:srgbClr val="000000"/>
              </a:solidFill>
              <a:latin typeface="Times New Roman"/>
              <a:cs typeface="Times New Roman"/>
            </a:endParaRPr>
          </a:p>
          <a:p>
            <a:pPr algn="just"/>
            <a:r>
              <a:rPr lang="en-US" sz="2000" spc="10" dirty="0">
                <a:latin typeface="Times New Roman"/>
                <a:cs typeface="Arial"/>
              </a:rPr>
              <a:t>Under this trailer leasing model, t</a:t>
            </a:r>
            <a:r>
              <a:rPr lang="en-US" sz="2000" spc="10" dirty="0">
                <a:latin typeface="Times New Roman"/>
                <a:cs typeface="Times"/>
              </a:rPr>
              <a:t>he logistics industry faces challenges in cost attribution and damage tracking due to</a:t>
            </a:r>
            <a:r>
              <a:rPr lang="en-US" sz="2000" spc="10" dirty="0">
                <a:latin typeface="Times New Roman"/>
                <a:cs typeface="Arial"/>
              </a:rPr>
              <a:t> unknown parties in the freight chain</a:t>
            </a:r>
            <a:r>
              <a:rPr lang="en-US" sz="2000" spc="10" dirty="0">
                <a:latin typeface="Times New Roman"/>
                <a:cs typeface="Segoe UI"/>
              </a:rPr>
              <a:t>, l</a:t>
            </a:r>
            <a:r>
              <a:rPr lang="en-US" sz="2000" spc="10" dirty="0">
                <a:latin typeface="Times New Roman"/>
                <a:cs typeface="Arial"/>
              </a:rPr>
              <a:t>eading to inefficiencies and billing disputes</a:t>
            </a:r>
            <a:r>
              <a:rPr lang="en-US" sz="2000" spc="10" dirty="0">
                <a:latin typeface="Times New Roman"/>
                <a:cs typeface="Segoe UI"/>
              </a:rPr>
              <a:t>. This study develops an analytics solution leveraging AI and telematics data to improve cost attribution and automate damage detection with limited data from logistics customers.</a:t>
            </a:r>
            <a:endParaRPr lang="en-US" sz="2000">
              <a:latin typeface="Times New Roman"/>
              <a:cs typeface="Segoe UI"/>
            </a:endParaRPr>
          </a:p>
          <a:p>
            <a:pPr algn="just"/>
            <a:endParaRPr lang="en-US" sz="1800" spc="10" dirty="0">
              <a:latin typeface="Arial" panose="020B0604020202020204" pitchFamily="34" charset="0"/>
              <a:cs typeface="Times"/>
            </a:endParaRPr>
          </a:p>
          <a:p>
            <a:pPr algn="just"/>
            <a:endParaRPr lang="en-US" sz="1800" spc="10" dirty="0">
              <a:latin typeface="Arial" panose="020B0604020202020204" pitchFamily="34" charset="0"/>
              <a:cs typeface="Times"/>
            </a:endParaRPr>
          </a:p>
        </p:txBody>
      </p:sp>
      <p:sp>
        <p:nvSpPr>
          <p:cNvPr id="48" name="Rectangle 47">
            <a:extLst>
              <a:ext uri="{FF2B5EF4-FFF2-40B4-BE49-F238E27FC236}">
                <a16:creationId xmlns:a16="http://schemas.microsoft.com/office/drawing/2014/main" id="{4DE82104-B1AB-67A3-78DD-417745282239}"/>
              </a:ext>
            </a:extLst>
          </p:cNvPr>
          <p:cNvSpPr/>
          <p:nvPr/>
        </p:nvSpPr>
        <p:spPr>
          <a:xfrm>
            <a:off x="9992438" y="11651368"/>
            <a:ext cx="4789126"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New Roman"/>
                <a:cs typeface="Arial"/>
              </a:rPr>
              <a:t>LITERATURE REVIEW</a:t>
            </a:r>
          </a:p>
        </p:txBody>
      </p:sp>
      <p:sp>
        <p:nvSpPr>
          <p:cNvPr id="49" name="Rectangle 106">
            <a:extLst>
              <a:ext uri="{FF2B5EF4-FFF2-40B4-BE49-F238E27FC236}">
                <a16:creationId xmlns:a16="http://schemas.microsoft.com/office/drawing/2014/main" id="{607C8AF3-E134-057E-35D7-F14B9338B342}"/>
              </a:ext>
            </a:extLst>
          </p:cNvPr>
          <p:cNvSpPr>
            <a:spLocks noChangeArrowheads="1"/>
          </p:cNvSpPr>
          <p:nvPr/>
        </p:nvSpPr>
        <p:spPr bwMode="auto">
          <a:xfrm>
            <a:off x="9992438" y="12012803"/>
            <a:ext cx="11431647" cy="3327383"/>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dirty="0">
                <a:latin typeface="Times New Roman"/>
                <a:cs typeface="Times"/>
              </a:rPr>
              <a:t>Cost allocation in logistics remains a challenge due to data inconsistencies and operational complexities. Prior research, such as Sheng Xu et al. (2020), introduced a Time-Driven-Activity-Based (TDABC) model integrated with shared logistics platforms to enhance real-time cost attribution. In parallel, damage detection research has explored the effectiveness of </a:t>
            </a:r>
            <a:r>
              <a:rPr lang="en-US" sz="2000" b="1" spc="10" dirty="0">
                <a:latin typeface="Times New Roman"/>
                <a:cs typeface="Times"/>
              </a:rPr>
              <a:t>MobileNetV2</a:t>
            </a:r>
            <a:r>
              <a:rPr lang="en-US" sz="2000" spc="10" dirty="0">
                <a:latin typeface="Times New Roman"/>
                <a:cs typeface="Times"/>
              </a:rPr>
              <a:t> for classifying multiple damage types in large-scale inspections (Wang et al., 2021; </a:t>
            </a:r>
            <a:r>
              <a:rPr lang="en-US" sz="2000" spc="10" err="1">
                <a:latin typeface="Times New Roman"/>
                <a:cs typeface="Times"/>
              </a:rPr>
              <a:t>Cimili</a:t>
            </a:r>
            <a:r>
              <a:rPr lang="en-US" sz="2000" spc="10" dirty="0">
                <a:latin typeface="Times New Roman"/>
                <a:cs typeface="Times"/>
              </a:rPr>
              <a:t> et al., 2022). These studies emphasize the </a:t>
            </a:r>
            <a:r>
              <a:rPr lang="en-US" sz="2000" b="1" spc="10" dirty="0">
                <a:latin typeface="Times New Roman"/>
                <a:cs typeface="Times"/>
              </a:rPr>
              <a:t>strength of transfer learning</a:t>
            </a:r>
            <a:r>
              <a:rPr lang="en-US" sz="2000" spc="10" dirty="0">
                <a:latin typeface="Times New Roman"/>
                <a:cs typeface="Times"/>
              </a:rPr>
              <a:t> but highlight gaps in quantifying damage severity for intelligent decision-making. Our work builds upon these foundations by integrating </a:t>
            </a:r>
            <a:r>
              <a:rPr lang="en-US" sz="2000" b="1" spc="10" dirty="0">
                <a:latin typeface="Times New Roman"/>
                <a:cs typeface="Times"/>
              </a:rPr>
              <a:t>geospatial toll attribution with damage classification and severity labeling</a:t>
            </a:r>
            <a:r>
              <a:rPr lang="en-US" sz="2000" spc="10" dirty="0">
                <a:latin typeface="Times New Roman"/>
                <a:cs typeface="Times"/>
              </a:rPr>
              <a:t>, ensuring accurate cost allocation and responsibility tracking in a subscription-based trailer access model.</a:t>
            </a:r>
            <a:endParaRPr lang="en-US" sz="2000" b="1" spc="10" dirty="0">
              <a:latin typeface="Times New Roman"/>
              <a:cs typeface="Times"/>
            </a:endParaRPr>
          </a:p>
        </p:txBody>
      </p:sp>
      <p:sp>
        <p:nvSpPr>
          <p:cNvPr id="51" name="Rectangle 50">
            <a:extLst>
              <a:ext uri="{FF2B5EF4-FFF2-40B4-BE49-F238E27FC236}">
                <a16:creationId xmlns:a16="http://schemas.microsoft.com/office/drawing/2014/main" id="{D60EAE86-D34C-9612-FF86-85375F86FD4F}"/>
              </a:ext>
            </a:extLst>
          </p:cNvPr>
          <p:cNvSpPr/>
          <p:nvPr/>
        </p:nvSpPr>
        <p:spPr>
          <a:xfrm>
            <a:off x="22213142" y="3610272"/>
            <a:ext cx="4789126"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New Roman"/>
                <a:cs typeface="Arial"/>
              </a:rPr>
              <a:t>METHODOLOGY</a:t>
            </a:r>
          </a:p>
        </p:txBody>
      </p:sp>
      <p:cxnSp>
        <p:nvCxnSpPr>
          <p:cNvPr id="55" name="Straight Connector 54">
            <a:extLst>
              <a:ext uri="{FF2B5EF4-FFF2-40B4-BE49-F238E27FC236}">
                <a16:creationId xmlns:a16="http://schemas.microsoft.com/office/drawing/2014/main" id="{1724909C-7D2F-3B28-6FF4-B3076A59A6A7}"/>
              </a:ext>
            </a:extLst>
          </p:cNvPr>
          <p:cNvCxnSpPr/>
          <p:nvPr/>
        </p:nvCxnSpPr>
        <p:spPr bwMode="auto">
          <a:xfrm flipV="1">
            <a:off x="21922630" y="3632428"/>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a:extLst>
              <a:ext uri="{FF2B5EF4-FFF2-40B4-BE49-F238E27FC236}">
                <a16:creationId xmlns:a16="http://schemas.microsoft.com/office/drawing/2014/main" id="{500092EC-EE5D-F675-EE6D-32E05CB0BBC9}"/>
              </a:ext>
            </a:extLst>
          </p:cNvPr>
          <p:cNvCxnSpPr/>
          <p:nvPr/>
        </p:nvCxnSpPr>
        <p:spPr bwMode="auto">
          <a:xfrm flipV="1">
            <a:off x="33280138" y="3495246"/>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Connector 52">
            <a:extLst>
              <a:ext uri="{FF2B5EF4-FFF2-40B4-BE49-F238E27FC236}">
                <a16:creationId xmlns:a16="http://schemas.microsoft.com/office/drawing/2014/main" id="{52ED3DD2-85CF-8C89-45DB-46A78137575D}"/>
              </a:ext>
            </a:extLst>
          </p:cNvPr>
          <p:cNvCxnSpPr/>
          <p:nvPr/>
        </p:nvCxnSpPr>
        <p:spPr bwMode="auto">
          <a:xfrm flipV="1">
            <a:off x="9656007" y="3610648"/>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 name="Rectangle 74">
            <a:extLst>
              <a:ext uri="{FF2B5EF4-FFF2-40B4-BE49-F238E27FC236}">
                <a16:creationId xmlns:a16="http://schemas.microsoft.com/office/drawing/2014/main" id="{93F3C628-36B3-04B5-05D2-77C7E4E26711}"/>
              </a:ext>
            </a:extLst>
          </p:cNvPr>
          <p:cNvSpPr/>
          <p:nvPr/>
        </p:nvSpPr>
        <p:spPr>
          <a:xfrm>
            <a:off x="33611699" y="3475636"/>
            <a:ext cx="4213035"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New Roman"/>
                <a:cs typeface="Arial"/>
              </a:rPr>
              <a:t>EXPECTED IMPACT</a:t>
            </a:r>
          </a:p>
        </p:txBody>
      </p:sp>
      <p:sp>
        <p:nvSpPr>
          <p:cNvPr id="77" name="Rectangle 76">
            <a:extLst>
              <a:ext uri="{FF2B5EF4-FFF2-40B4-BE49-F238E27FC236}">
                <a16:creationId xmlns:a16="http://schemas.microsoft.com/office/drawing/2014/main" id="{7D0B9666-3719-1805-B13B-7CFFAA25FC5F}"/>
              </a:ext>
            </a:extLst>
          </p:cNvPr>
          <p:cNvSpPr/>
          <p:nvPr/>
        </p:nvSpPr>
        <p:spPr>
          <a:xfrm>
            <a:off x="33611699" y="15017250"/>
            <a:ext cx="3480990"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New Roman"/>
                <a:cs typeface="Arial"/>
              </a:rPr>
              <a:t>CONCLUSIONS</a:t>
            </a:r>
            <a:endParaRPr lang="en-US" sz="2800" b="1">
              <a:solidFill>
                <a:schemeClr val="bg2">
                  <a:lumMod val="49000"/>
                </a:schemeClr>
              </a:solidFill>
              <a:latin typeface="Times New Roman"/>
              <a:cs typeface="Arial" panose="020B0604020202020204" pitchFamily="34" charset="0"/>
            </a:endParaRPr>
          </a:p>
        </p:txBody>
      </p:sp>
      <p:sp>
        <p:nvSpPr>
          <p:cNvPr id="105" name="TextBox 104">
            <a:extLst>
              <a:ext uri="{FF2B5EF4-FFF2-40B4-BE49-F238E27FC236}">
                <a16:creationId xmlns:a16="http://schemas.microsoft.com/office/drawing/2014/main" id="{F3F38A43-0A4B-88AD-6539-02458E1CB45C}"/>
              </a:ext>
            </a:extLst>
          </p:cNvPr>
          <p:cNvSpPr txBox="1"/>
          <p:nvPr/>
        </p:nvSpPr>
        <p:spPr>
          <a:xfrm>
            <a:off x="33611699" y="15483134"/>
            <a:ext cx="9422590" cy="1938992"/>
          </a:xfrm>
          <a:prstGeom prst="rect">
            <a:avLst/>
          </a:prstGeom>
          <a:noFill/>
        </p:spPr>
        <p:txBody>
          <a:bodyPr wrap="square" lIns="91440" tIns="45720" rIns="91440" bIns="45720" rtlCol="0" anchor="t">
            <a:spAutoFit/>
          </a:bodyPr>
          <a:lstStyle/>
          <a:p>
            <a:pPr algn="just">
              <a:spcBef>
                <a:spcPts val="200"/>
              </a:spcBef>
              <a:spcAft>
                <a:spcPts val="0"/>
              </a:spcAft>
            </a:pPr>
            <a:r>
              <a:rPr lang="en-US" sz="2000" spc="10" dirty="0">
                <a:latin typeface="Times New Roman"/>
                <a:cs typeface="Times"/>
              </a:rPr>
              <a:t>Before automation, toll and damage attribution, as well as image comparison, were performed manually, leading to longer processing times and a higher risk of human error. By implementing an automated process, we were able to significantly reduce processing time by ~2-3 FTEs and cut costs by close 0.5 Million USD annually. Additionally, automation minimized manual errors, enhancing the accuracy and reliability of the attribution process.</a:t>
            </a:r>
            <a:endParaRPr lang="en-US" sz="2000">
              <a:latin typeface="Times New Roman"/>
              <a:cs typeface="Times"/>
            </a:endParaRPr>
          </a:p>
        </p:txBody>
      </p:sp>
      <p:sp>
        <p:nvSpPr>
          <p:cNvPr id="106" name="Rectangle 105">
            <a:extLst>
              <a:ext uri="{FF2B5EF4-FFF2-40B4-BE49-F238E27FC236}">
                <a16:creationId xmlns:a16="http://schemas.microsoft.com/office/drawing/2014/main" id="{9C71C168-F78F-D512-FE12-4A0575D8FD56}"/>
              </a:ext>
            </a:extLst>
          </p:cNvPr>
          <p:cNvSpPr/>
          <p:nvPr/>
        </p:nvSpPr>
        <p:spPr>
          <a:xfrm>
            <a:off x="33611699" y="19134638"/>
            <a:ext cx="4705362"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New Roman"/>
                <a:cs typeface="Arial"/>
              </a:rPr>
              <a:t>ACKNOWLEDGEMENTS</a:t>
            </a:r>
          </a:p>
        </p:txBody>
      </p:sp>
      <p:sp>
        <p:nvSpPr>
          <p:cNvPr id="107" name="TextBox 106">
            <a:extLst>
              <a:ext uri="{FF2B5EF4-FFF2-40B4-BE49-F238E27FC236}">
                <a16:creationId xmlns:a16="http://schemas.microsoft.com/office/drawing/2014/main" id="{EB9A831C-D977-1EE7-2F6C-B58C2FD1B355}"/>
              </a:ext>
            </a:extLst>
          </p:cNvPr>
          <p:cNvSpPr txBox="1"/>
          <p:nvPr/>
        </p:nvSpPr>
        <p:spPr>
          <a:xfrm>
            <a:off x="33611699" y="19591422"/>
            <a:ext cx="9422189" cy="707886"/>
          </a:xfrm>
          <a:prstGeom prst="rect">
            <a:avLst/>
          </a:prstGeom>
          <a:noFill/>
        </p:spPr>
        <p:txBody>
          <a:bodyPr wrap="square" lIns="91440" tIns="45720" rIns="91440" bIns="45720" anchor="t">
            <a:spAutoFit/>
          </a:bodyPr>
          <a:lstStyle/>
          <a:p>
            <a:pPr algn="just"/>
            <a:r>
              <a:rPr lang="en-IN" sz="2000" spc="10" dirty="0">
                <a:latin typeface="Times New Roman"/>
                <a:cs typeface="Arial"/>
              </a:rPr>
              <a:t>We would like to thank Dr. Khan and our industry partner for this opportunity, their guidance, and support on this project.</a:t>
            </a:r>
          </a:p>
        </p:txBody>
      </p:sp>
      <p:sp>
        <p:nvSpPr>
          <p:cNvPr id="109" name="Rectangle 108">
            <a:extLst>
              <a:ext uri="{FF2B5EF4-FFF2-40B4-BE49-F238E27FC236}">
                <a16:creationId xmlns:a16="http://schemas.microsoft.com/office/drawing/2014/main" id="{D794F7B6-70C0-E90C-9620-2C70991EFA83}"/>
              </a:ext>
            </a:extLst>
          </p:cNvPr>
          <p:cNvSpPr/>
          <p:nvPr/>
        </p:nvSpPr>
        <p:spPr bwMode="auto">
          <a:xfrm>
            <a:off x="3266" y="20790130"/>
            <a:ext cx="43883035" cy="1148939"/>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8" name="TextBox 11">
            <a:extLst>
              <a:ext uri="{FF2B5EF4-FFF2-40B4-BE49-F238E27FC236}">
                <a16:creationId xmlns:a16="http://schemas.microsoft.com/office/drawing/2014/main" id="{1169DDE9-B93C-CBBF-324B-24B2DEF9B9CB}"/>
              </a:ext>
            </a:extLst>
          </p:cNvPr>
          <p:cNvSpPr txBox="1"/>
          <p:nvPr/>
        </p:nvSpPr>
        <p:spPr>
          <a:xfrm>
            <a:off x="553008" y="20024709"/>
            <a:ext cx="8472308"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latin typeface="Times New Roman"/>
                <a:cs typeface="Arial"/>
              </a:rPr>
              <a:t>Fig 2. Using Trailer telematics Data and Machine Learning for right attribution to win customer trust</a:t>
            </a:r>
            <a:endParaRPr lang="en-US">
              <a:latin typeface="Times New Roman"/>
              <a:cs typeface="Times New Roman"/>
            </a:endParaRPr>
          </a:p>
        </p:txBody>
      </p:sp>
      <p:graphicFrame>
        <p:nvGraphicFramePr>
          <p:cNvPr id="22" name="Table 21">
            <a:extLst>
              <a:ext uri="{FF2B5EF4-FFF2-40B4-BE49-F238E27FC236}">
                <a16:creationId xmlns:a16="http://schemas.microsoft.com/office/drawing/2014/main" id="{5B594D09-B3D6-9151-40B6-4E402FEABE42}"/>
              </a:ext>
            </a:extLst>
          </p:cNvPr>
          <p:cNvGraphicFramePr>
            <a:graphicFrameLocks noGrp="1"/>
          </p:cNvGraphicFramePr>
          <p:nvPr>
            <p:extLst>
              <p:ext uri="{D42A27DB-BD31-4B8C-83A1-F6EECF244321}">
                <p14:modId xmlns:p14="http://schemas.microsoft.com/office/powerpoint/2010/main" val="3736141544"/>
              </p:ext>
            </p:extLst>
          </p:nvPr>
        </p:nvGraphicFramePr>
        <p:xfrm>
          <a:off x="10009391" y="15489441"/>
          <a:ext cx="11539757" cy="4496369"/>
        </p:xfrm>
        <a:graphic>
          <a:graphicData uri="http://schemas.openxmlformats.org/drawingml/2006/table">
            <a:tbl>
              <a:tblPr bandRow="1">
                <a:tableStyleId>{5C22544A-7EE6-4342-B048-85BDC9FD1C3A}</a:tableStyleId>
              </a:tblPr>
              <a:tblGrid>
                <a:gridCol w="3277852">
                  <a:extLst>
                    <a:ext uri="{9D8B030D-6E8A-4147-A177-3AD203B41FA5}">
                      <a16:colId xmlns:a16="http://schemas.microsoft.com/office/drawing/2014/main" val="3259844882"/>
                    </a:ext>
                  </a:extLst>
                </a:gridCol>
                <a:gridCol w="1064013">
                  <a:extLst>
                    <a:ext uri="{9D8B030D-6E8A-4147-A177-3AD203B41FA5}">
                      <a16:colId xmlns:a16="http://schemas.microsoft.com/office/drawing/2014/main" val="1987268114"/>
                    </a:ext>
                  </a:extLst>
                </a:gridCol>
                <a:gridCol w="1381775">
                  <a:extLst>
                    <a:ext uri="{9D8B030D-6E8A-4147-A177-3AD203B41FA5}">
                      <a16:colId xmlns:a16="http://schemas.microsoft.com/office/drawing/2014/main" val="136245183"/>
                    </a:ext>
                  </a:extLst>
                </a:gridCol>
                <a:gridCol w="1166979">
                  <a:extLst>
                    <a:ext uri="{9D8B030D-6E8A-4147-A177-3AD203B41FA5}">
                      <a16:colId xmlns:a16="http://schemas.microsoft.com/office/drawing/2014/main" val="3599936234"/>
                    </a:ext>
                  </a:extLst>
                </a:gridCol>
                <a:gridCol w="1561567">
                  <a:extLst>
                    <a:ext uri="{9D8B030D-6E8A-4147-A177-3AD203B41FA5}">
                      <a16:colId xmlns:a16="http://schemas.microsoft.com/office/drawing/2014/main" val="4183000220"/>
                    </a:ext>
                  </a:extLst>
                </a:gridCol>
                <a:gridCol w="1519104">
                  <a:extLst>
                    <a:ext uri="{9D8B030D-6E8A-4147-A177-3AD203B41FA5}">
                      <a16:colId xmlns:a16="http://schemas.microsoft.com/office/drawing/2014/main" val="4024941910"/>
                    </a:ext>
                  </a:extLst>
                </a:gridCol>
                <a:gridCol w="1568467">
                  <a:extLst>
                    <a:ext uri="{9D8B030D-6E8A-4147-A177-3AD203B41FA5}">
                      <a16:colId xmlns:a16="http://schemas.microsoft.com/office/drawing/2014/main" val="2562162026"/>
                    </a:ext>
                  </a:extLst>
                </a:gridCol>
              </a:tblGrid>
              <a:tr h="294905">
                <a:tc rowSpan="3">
                  <a:txBody>
                    <a:bodyPr/>
                    <a:lstStyle/>
                    <a:p>
                      <a:pPr algn="ctr" rtl="0" fontAlgn="base">
                        <a:lnSpc>
                          <a:spcPts val="1275"/>
                        </a:lnSpc>
                      </a:pPr>
                      <a:endParaRPr lang="en-US" sz="1800" b="1" dirty="0">
                        <a:effectLst/>
                        <a:latin typeface="Arial"/>
                      </a:endParaRPr>
                    </a:p>
                    <a:p>
                      <a:pPr algn="ctr" rtl="0" fontAlgn="base">
                        <a:lnSpc>
                          <a:spcPts val="1275"/>
                        </a:lnSpc>
                      </a:pPr>
                      <a:r>
                        <a:rPr lang="en-US" sz="1800" b="1" dirty="0">
                          <a:effectLst/>
                          <a:latin typeface="Arial"/>
                        </a:rPr>
                        <a:t>Study</a:t>
                      </a:r>
                      <a:r>
                        <a:rPr lang="en-US" sz="1800" dirty="0">
                          <a:effectLst/>
                          <a:latin typeface="Arial"/>
                        </a:rPr>
                        <a:t>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gridSpan="6">
                  <a:txBody>
                    <a:bodyPr/>
                    <a:lstStyle/>
                    <a:p>
                      <a:pPr algn="ctr" rtl="0" fontAlgn="base">
                        <a:lnSpc>
                          <a:spcPts val="1275"/>
                        </a:lnSpc>
                      </a:pPr>
                      <a:r>
                        <a:rPr lang="en-US" sz="1800" b="1" dirty="0">
                          <a:effectLst/>
                          <a:latin typeface="Arial"/>
                        </a:rPr>
                        <a:t>Paper Aspect</a:t>
                      </a:r>
                      <a:r>
                        <a:rPr lang="en-US" sz="1800" dirty="0">
                          <a:effectLst/>
                          <a:latin typeface="Arial"/>
                        </a:rPr>
                        <a:t>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76439773"/>
                  </a:ext>
                </a:extLst>
              </a:tr>
              <a:tr h="294905">
                <a:tc vMerge="1">
                  <a:txBody>
                    <a:bodyPr/>
                    <a:lstStyle/>
                    <a:p>
                      <a:endParaRPr lang="en-US"/>
                    </a:p>
                  </a:txBody>
                  <a:tcPr/>
                </a:tc>
                <a:tc gridSpan="2">
                  <a:txBody>
                    <a:bodyPr/>
                    <a:lstStyle/>
                    <a:p>
                      <a:pPr algn="ctr" rtl="0" fontAlgn="base">
                        <a:lnSpc>
                          <a:spcPts val="1275"/>
                        </a:lnSpc>
                      </a:pPr>
                      <a:r>
                        <a:rPr lang="en-US" sz="1800" dirty="0">
                          <a:effectLst/>
                          <a:latin typeface="Arial"/>
                        </a:rPr>
                        <a:t>Tolls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hMerge="1">
                  <a:txBody>
                    <a:bodyPr/>
                    <a:lstStyle/>
                    <a:p>
                      <a:endParaRPr lang="en-US"/>
                    </a:p>
                  </a:txBody>
                  <a:tcPr/>
                </a:tc>
                <a:tc gridSpan="4">
                  <a:txBody>
                    <a:bodyPr/>
                    <a:lstStyle/>
                    <a:p>
                      <a:pPr algn="ctr" rtl="0" fontAlgn="base">
                        <a:lnSpc>
                          <a:spcPts val="1275"/>
                        </a:lnSpc>
                      </a:pPr>
                      <a:r>
                        <a:rPr lang="en-US" sz="1800" dirty="0">
                          <a:effectLst/>
                          <a:latin typeface="Arial"/>
                        </a:rPr>
                        <a:t>Damage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89864480"/>
                  </a:ext>
                </a:extLst>
              </a:tr>
              <a:tr h="887216">
                <a:tc vMerge="1">
                  <a:txBody>
                    <a:bodyPr/>
                    <a:lstStyle/>
                    <a:p>
                      <a:endParaRPr lang="en-US"/>
                    </a:p>
                  </a:txBody>
                  <a:tcPr/>
                </a:tc>
                <a:tc>
                  <a:txBody>
                    <a:bodyPr/>
                    <a:lstStyle/>
                    <a:p>
                      <a:pPr algn="ctr" rtl="0" fontAlgn="base">
                        <a:lnSpc>
                          <a:spcPct val="100000"/>
                        </a:lnSpc>
                      </a:pPr>
                      <a:r>
                        <a:rPr lang="en-US" sz="1800" dirty="0">
                          <a:effectLst/>
                          <a:latin typeface="Arial"/>
                        </a:rPr>
                        <a:t>TDABC model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dirty="0">
                          <a:effectLst/>
                          <a:latin typeface="Arial"/>
                        </a:rPr>
                        <a:t>Shared Logistics Platform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dirty="0">
                          <a:effectLst/>
                          <a:latin typeface="Arial"/>
                        </a:rPr>
                        <a:t>MobileNetV2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dirty="0">
                          <a:effectLst/>
                          <a:latin typeface="Arial"/>
                        </a:rPr>
                        <a:t>Semi-Supervised Learning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err="1">
                          <a:effectLst/>
                          <a:latin typeface="Arial"/>
                        </a:rPr>
                        <a:t>MultipleType</a:t>
                      </a:r>
                      <a:r>
                        <a:rPr lang="en-US" sz="1800" dirty="0">
                          <a:effectLst/>
                          <a:latin typeface="Arial"/>
                        </a:rPr>
                        <a:t> damage classification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rtl="0" fontAlgn="base">
                        <a:lnSpc>
                          <a:spcPct val="100000"/>
                        </a:lnSpc>
                      </a:pPr>
                      <a:r>
                        <a:rPr lang="en-US" sz="1800" dirty="0">
                          <a:effectLst/>
                          <a:latin typeface="Arial"/>
                        </a:rPr>
                        <a:t>Model Enhancement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3397540817"/>
                  </a:ext>
                </a:extLst>
              </a:tr>
              <a:tr h="618500">
                <a:tc>
                  <a:txBody>
                    <a:bodyPr/>
                    <a:lstStyle/>
                    <a:p>
                      <a:pPr rtl="0" fontAlgn="base">
                        <a:lnSpc>
                          <a:spcPts val="1275"/>
                        </a:lnSpc>
                      </a:pPr>
                      <a:r>
                        <a:rPr lang="en-US" sz="1800" dirty="0">
                          <a:effectLst/>
                          <a:latin typeface="Arial"/>
                        </a:rPr>
                        <a:t>(Sheng Xu et al., 2020)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ts val="1275"/>
                        </a:lnSpc>
                        <a:buNone/>
                      </a:pPr>
                      <a:r>
                        <a:rPr lang="en-US" sz="1100" b="0" i="0" u="none" strike="noStrike" noProof="0" dirty="0">
                          <a:solidFill>
                            <a:srgbClr val="474747"/>
                          </a:solidFill>
                          <a:effectLst/>
                          <a:latin typeface="Arial"/>
                        </a:rPr>
                        <a:t>  </a:t>
                      </a:r>
                      <a:r>
                        <a:rPr lang="en-US" sz="2800" b="0" i="0" u="none" strike="noStrike" noProof="0" dirty="0">
                          <a:solidFill>
                            <a:srgbClr val="474747"/>
                          </a:solidFill>
                          <a:effectLst/>
                          <a:latin typeface="Arial"/>
                        </a:rPr>
                        <a:t>✔</a:t>
                      </a:r>
                      <a:endParaRPr lang="en-US" sz="2800" b="0" i="0" u="none" strike="noStrike" noProof="0" dirty="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ts val="1275"/>
                        </a:lnSpc>
                        <a:buNone/>
                      </a:pPr>
                      <a:r>
                        <a:rPr lang="en-US" sz="1100" b="0" i="0" u="none" strike="noStrike" noProof="0" dirty="0">
                          <a:solidFill>
                            <a:srgbClr val="474747"/>
                          </a:solidFill>
                          <a:effectLst/>
                          <a:latin typeface="Arial"/>
                        </a:rPr>
                        <a:t>  </a:t>
                      </a:r>
                      <a:r>
                        <a:rPr lang="en-US" sz="2800" b="0" i="0" u="none" strike="noStrike" noProof="0" dirty="0">
                          <a:solidFill>
                            <a:srgbClr val="474747"/>
                          </a:solidFill>
                          <a:effectLst/>
                          <a:latin typeface="Arial"/>
                        </a:rPr>
                        <a:t>✔</a:t>
                      </a:r>
                      <a:endParaRPr lang="en-US" sz="2800" b="0" i="0" u="none" strike="noStrike" noProof="0" dirty="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1063367"/>
                  </a:ext>
                </a:extLst>
              </a:tr>
              <a:tr h="618499">
                <a:tc>
                  <a:txBody>
                    <a:bodyPr/>
                    <a:lstStyle/>
                    <a:p>
                      <a:pPr rtl="0" fontAlgn="base">
                        <a:lnSpc>
                          <a:spcPts val="1275"/>
                        </a:lnSpc>
                      </a:pPr>
                      <a:r>
                        <a:rPr lang="en-US" sz="1800" dirty="0">
                          <a:effectLst/>
                          <a:latin typeface="Arial"/>
                        </a:rPr>
                        <a:t>(Pavel </a:t>
                      </a:r>
                      <a:r>
                        <a:rPr lang="en-US" sz="1800" err="1">
                          <a:effectLst/>
                          <a:latin typeface="Arial"/>
                        </a:rPr>
                        <a:t>Cimili</a:t>
                      </a:r>
                      <a:r>
                        <a:rPr lang="en-US" sz="1800" dirty="0">
                          <a:effectLst/>
                          <a:latin typeface="Arial"/>
                        </a:rPr>
                        <a:t>, et al., 2022)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ts val="1275"/>
                        </a:lnSpc>
                        <a:buNone/>
                      </a:pPr>
                      <a:r>
                        <a:rPr lang="en-US" sz="1100" b="0" i="0" u="none" strike="noStrike" noProof="0" dirty="0">
                          <a:solidFill>
                            <a:srgbClr val="474747"/>
                          </a:solidFill>
                          <a:effectLst/>
                          <a:latin typeface="Arial"/>
                        </a:rPr>
                        <a:t> </a:t>
                      </a:r>
                      <a:r>
                        <a:rPr lang="en-US" sz="2800" b="0" i="0" u="none" strike="noStrike" noProof="0" dirty="0">
                          <a:solidFill>
                            <a:srgbClr val="474747"/>
                          </a:solidFill>
                          <a:effectLst/>
                          <a:latin typeface="Arial"/>
                        </a:rPr>
                        <a:t>✔</a:t>
                      </a:r>
                      <a:endParaRPr lang="en-US" sz="2800" dirty="0"/>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9129025"/>
                  </a:ext>
                </a:extLst>
              </a:tr>
              <a:tr h="618500">
                <a:tc>
                  <a:txBody>
                    <a:bodyPr/>
                    <a:lstStyle/>
                    <a:p>
                      <a:pPr rtl="0" fontAlgn="base">
                        <a:lnSpc>
                          <a:spcPts val="1275"/>
                        </a:lnSpc>
                      </a:pPr>
                      <a:r>
                        <a:rPr lang="en-US" sz="1800" dirty="0">
                          <a:effectLst/>
                          <a:latin typeface="Arial"/>
                        </a:rPr>
                        <a:t>(Jiahao Chen et al., </a:t>
                      </a:r>
                      <a:r>
                        <a:rPr lang="en-US" sz="1800" i="1" dirty="0">
                          <a:effectLst/>
                          <a:latin typeface="Arial"/>
                        </a:rPr>
                        <a:t>n.d.)</a:t>
                      </a:r>
                      <a:r>
                        <a:rPr lang="en-US" sz="1800" dirty="0">
                          <a:effectLst/>
                          <a:latin typeface="Arial"/>
                        </a:rPr>
                        <a:t>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dirty="0">
                          <a:solidFill>
                            <a:srgbClr val="474747"/>
                          </a:solidFill>
                          <a:effectLst/>
                          <a:latin typeface="Arial"/>
                        </a:rPr>
                        <a:t>✔</a:t>
                      </a:r>
                      <a:endParaRPr lang="en-US" sz="2800" b="0" i="0" u="none" strike="noStrike" noProof="0" dirty="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2594619"/>
                  </a:ext>
                </a:extLst>
              </a:tr>
              <a:tr h="618500">
                <a:tc>
                  <a:txBody>
                    <a:bodyPr/>
                    <a:lstStyle/>
                    <a:p>
                      <a:pPr rtl="0" fontAlgn="base">
                        <a:lnSpc>
                          <a:spcPts val="1275"/>
                        </a:lnSpc>
                      </a:pPr>
                      <a:r>
                        <a:rPr lang="en-US" sz="1800" dirty="0">
                          <a:effectLst/>
                          <a:latin typeface="Arial"/>
                        </a:rPr>
                        <a:t>(</a:t>
                      </a:r>
                      <a:r>
                        <a:rPr lang="en-US" sz="1800" u="sng" strike="noStrike" dirty="0">
                          <a:solidFill>
                            <a:schemeClr val="tx1">
                              <a:lumMod val="95000"/>
                              <a:lumOff val="5000"/>
                            </a:schemeClr>
                          </a:solidFill>
                          <a:effectLst/>
                          <a:latin typeface="Arial"/>
                          <a:hlinkClick r:id="rId3">
                            <a:extLst>
                              <a:ext uri="{A12FA001-AC4F-418D-AE19-62706E023703}">
                                <ahyp:hlinkClr xmlns:ahyp="http://schemas.microsoft.com/office/drawing/2018/hyperlinkcolor" val="tx"/>
                              </a:ext>
                            </a:extLst>
                          </a:hlinkClick>
                        </a:rPr>
                        <a:t>Zixin Wang</a:t>
                      </a:r>
                      <a:r>
                        <a:rPr lang="en-US" sz="1800" u="sng" dirty="0">
                          <a:solidFill>
                            <a:schemeClr val="tx1">
                              <a:lumMod val="95000"/>
                              <a:lumOff val="5000"/>
                            </a:schemeClr>
                          </a:solidFill>
                          <a:effectLst/>
                          <a:latin typeface="Arial"/>
                        </a:rPr>
                        <a:t> </a:t>
                      </a:r>
                      <a:r>
                        <a:rPr lang="en-US" sz="1800" dirty="0">
                          <a:effectLst/>
                          <a:latin typeface="Arial"/>
                        </a:rPr>
                        <a:t>et al., 2021) </a:t>
                      </a:r>
                      <a:endParaRPr lang="en-US" dirty="0"/>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r>
                        <a:rPr lang="en-US" sz="1800" dirty="0">
                          <a:effectLst/>
                          <a:latin typeface="Arial"/>
                        </a:rPr>
                        <a:t> </a:t>
                      </a:r>
                      <a:endParaRPr lang="en-US" sz="2800" b="0" i="0" u="none" strike="noStrike" noProof="0" dirty="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7964679"/>
                  </a:ext>
                </a:extLst>
              </a:tr>
              <a:tr h="294905">
                <a:tc>
                  <a:txBody>
                    <a:bodyPr/>
                    <a:lstStyle/>
                    <a:p>
                      <a:pPr rtl="0" fontAlgn="base">
                        <a:lnSpc>
                          <a:spcPts val="1275"/>
                        </a:lnSpc>
                      </a:pPr>
                      <a:r>
                        <a:rPr lang="en-US" sz="1800" dirty="0">
                          <a:effectLst/>
                          <a:latin typeface="Arial"/>
                        </a:rPr>
                        <a:t>Our Study </a:t>
                      </a: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1100" b="0" i="0" u="none" strike="noStrike" noProof="0" dirty="0">
                          <a:solidFill>
                            <a:srgbClr val="474747"/>
                          </a:solidFill>
                          <a:effectLst/>
                          <a:latin typeface="Arial"/>
                        </a:rPr>
                        <a:t> </a:t>
                      </a:r>
                      <a:r>
                        <a:rPr lang="en-US" sz="2800" b="0" i="0" u="none" strike="noStrike" noProof="0">
                          <a:solidFill>
                            <a:srgbClr val="474747"/>
                          </a:solidFill>
                          <a:effectLst/>
                          <a:latin typeface="Arial"/>
                        </a:rPr>
                        <a:t>✔</a:t>
                      </a:r>
                      <a:endParaRPr lang="en-US" sz="2800" b="0" i="0" u="none" strike="noStrike" noProof="0">
                        <a:solidFill>
                          <a:srgbClr val="000000"/>
                        </a:solidFill>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tc>
                  <a:txBody>
                    <a:bodyPr/>
                    <a:lstStyle/>
                    <a:p>
                      <a:pPr algn="ctr" rtl="0" fontAlgn="base">
                        <a:lnSpc>
                          <a:spcPts val="1275"/>
                        </a:lnSpc>
                      </a:pPr>
                      <a:endParaRPr lang="en-US" sz="1800" dirty="0">
                        <a:effectLst/>
                        <a:latin typeface="Arial"/>
                      </a:endParaRPr>
                    </a:p>
                  </a:txBody>
                  <a:tcPr marL="66675" marR="66675"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02659"/>
                  </a:ext>
                </a:extLst>
              </a:tr>
            </a:tbl>
          </a:graphicData>
        </a:graphic>
      </p:graphicFrame>
      <p:sp>
        <p:nvSpPr>
          <p:cNvPr id="54" name="Rectangle: Rounded Corners 53">
            <a:extLst>
              <a:ext uri="{FF2B5EF4-FFF2-40B4-BE49-F238E27FC236}">
                <a16:creationId xmlns:a16="http://schemas.microsoft.com/office/drawing/2014/main" id="{96285D32-63D2-BBC3-B488-C151D1F0FA8F}"/>
              </a:ext>
            </a:extLst>
          </p:cNvPr>
          <p:cNvSpPr/>
          <p:nvPr/>
        </p:nvSpPr>
        <p:spPr>
          <a:xfrm>
            <a:off x="22401401" y="4840150"/>
            <a:ext cx="2017056" cy="795698"/>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i="1" dirty="0">
                <a:solidFill>
                  <a:srgbClr val="000000"/>
                </a:solidFill>
                <a:latin typeface="Arial"/>
                <a:cs typeface="Arial"/>
              </a:rPr>
              <a:t>Toll Agency </a:t>
            </a:r>
            <a:r>
              <a:rPr lang="en-US" sz="1200">
                <a:solidFill>
                  <a:srgbClr val="000000"/>
                </a:solidFill>
                <a:latin typeface="Arial"/>
                <a:cs typeface="Arial"/>
              </a:rPr>
              <a:t>sends</a:t>
            </a:r>
            <a:r>
              <a:rPr lang="en-US" sz="1200" dirty="0">
                <a:solidFill>
                  <a:srgbClr val="000000"/>
                </a:solidFill>
                <a:latin typeface="Arial"/>
                <a:cs typeface="Arial"/>
              </a:rPr>
              <a:t> Toll Data Report to </a:t>
            </a:r>
            <a:r>
              <a:rPr lang="en-US" sz="1200" i="1" dirty="0">
                <a:solidFill>
                  <a:srgbClr val="000000"/>
                </a:solidFill>
                <a:latin typeface="Arial"/>
                <a:cs typeface="Arial"/>
              </a:rPr>
              <a:t>Provider </a:t>
            </a:r>
            <a:r>
              <a:rPr lang="en-US" sz="1200" dirty="0">
                <a:solidFill>
                  <a:srgbClr val="000000"/>
                </a:solidFill>
                <a:latin typeface="Arial"/>
                <a:cs typeface="Arial"/>
              </a:rPr>
              <a:t>for Reimbursement</a:t>
            </a:r>
          </a:p>
        </p:txBody>
      </p:sp>
      <p:sp>
        <p:nvSpPr>
          <p:cNvPr id="57" name="Rectangle: Rounded Corners 56">
            <a:extLst>
              <a:ext uri="{FF2B5EF4-FFF2-40B4-BE49-F238E27FC236}">
                <a16:creationId xmlns:a16="http://schemas.microsoft.com/office/drawing/2014/main" id="{DA33BF2E-7506-5BF9-24BC-2D7B48DA7F2B}"/>
              </a:ext>
            </a:extLst>
          </p:cNvPr>
          <p:cNvSpPr/>
          <p:nvPr/>
        </p:nvSpPr>
        <p:spPr>
          <a:xfrm>
            <a:off x="25166823" y="4943668"/>
            <a:ext cx="1922431" cy="577726"/>
          </a:xfrm>
          <a:prstGeom prst="roundRect">
            <a:avLst/>
          </a:prstGeom>
          <a:solidFill>
            <a:schemeClr val="bg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dirty="0">
                <a:solidFill>
                  <a:srgbClr val="000000"/>
                </a:solidFill>
              </a:rPr>
              <a:t>Automation Logic</a:t>
            </a:r>
          </a:p>
        </p:txBody>
      </p:sp>
      <p:cxnSp>
        <p:nvCxnSpPr>
          <p:cNvPr id="58" name="Connector: Elbow 57">
            <a:extLst>
              <a:ext uri="{FF2B5EF4-FFF2-40B4-BE49-F238E27FC236}">
                <a16:creationId xmlns:a16="http://schemas.microsoft.com/office/drawing/2014/main" id="{8192D790-E699-74CA-0F98-AA166A3F71C2}"/>
              </a:ext>
            </a:extLst>
          </p:cNvPr>
          <p:cNvCxnSpPr/>
          <p:nvPr/>
        </p:nvCxnSpPr>
        <p:spPr>
          <a:xfrm flipV="1">
            <a:off x="24697865" y="5331421"/>
            <a:ext cx="467651" cy="1082566"/>
          </a:xfrm>
          <a:prstGeom prst="bentConnector3">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7E3499DF-321A-48FA-85E0-836771029D58}"/>
              </a:ext>
            </a:extLst>
          </p:cNvPr>
          <p:cNvCxnSpPr>
            <a:cxnSpLocks/>
          </p:cNvCxnSpPr>
          <p:nvPr/>
        </p:nvCxnSpPr>
        <p:spPr>
          <a:xfrm flipV="1">
            <a:off x="27099216" y="5230041"/>
            <a:ext cx="740771" cy="23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9F4391FC-E34A-9C75-C366-27C595140A9E}"/>
              </a:ext>
            </a:extLst>
          </p:cNvPr>
          <p:cNvSpPr/>
          <p:nvPr/>
        </p:nvSpPr>
        <p:spPr>
          <a:xfrm>
            <a:off x="27841293" y="4943668"/>
            <a:ext cx="1922431" cy="57772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latin typeface="Arial"/>
                <a:cs typeface="Arial"/>
              </a:rPr>
              <a:t>Matching Subscriber to Tolls</a:t>
            </a:r>
            <a:r>
              <a:rPr lang="en-US" sz="1200">
                <a:solidFill>
                  <a:srgbClr val="000000"/>
                </a:solidFill>
                <a:latin typeface="Arial"/>
                <a:cs typeface="Arial"/>
              </a:rPr>
              <a:t> using </a:t>
            </a:r>
            <a:r>
              <a:rPr lang="en-US" sz="1200" dirty="0">
                <a:solidFill>
                  <a:srgbClr val="000000"/>
                </a:solidFill>
                <a:latin typeface="Arial"/>
                <a:cs typeface="Arial"/>
              </a:rPr>
              <a:t>Vehicle </a:t>
            </a:r>
            <a:r>
              <a:rPr lang="en-US" sz="1200">
                <a:solidFill>
                  <a:srgbClr val="000000"/>
                </a:solidFill>
                <a:latin typeface="Arial"/>
                <a:cs typeface="Arial"/>
              </a:rPr>
              <a:t>Identification Number</a:t>
            </a:r>
            <a:endParaRPr lang="en-US" sz="1200" dirty="0">
              <a:solidFill>
                <a:srgbClr val="000000"/>
              </a:solidFill>
              <a:latin typeface="Arial"/>
              <a:cs typeface="Arial"/>
            </a:endParaRPr>
          </a:p>
        </p:txBody>
      </p:sp>
      <p:cxnSp>
        <p:nvCxnSpPr>
          <p:cNvPr id="63" name="Straight Arrow Connector 62">
            <a:extLst>
              <a:ext uri="{FF2B5EF4-FFF2-40B4-BE49-F238E27FC236}">
                <a16:creationId xmlns:a16="http://schemas.microsoft.com/office/drawing/2014/main" id="{A348BCEA-40F9-4D62-00A8-90F41D15DF60}"/>
              </a:ext>
            </a:extLst>
          </p:cNvPr>
          <p:cNvCxnSpPr>
            <a:cxnSpLocks/>
          </p:cNvCxnSpPr>
          <p:nvPr/>
        </p:nvCxnSpPr>
        <p:spPr>
          <a:xfrm flipV="1">
            <a:off x="24424745" y="5230041"/>
            <a:ext cx="740771" cy="23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D5E1E239-23AD-C382-9F30-A42E6BC0F904}"/>
              </a:ext>
            </a:extLst>
          </p:cNvPr>
          <p:cNvSpPr/>
          <p:nvPr/>
        </p:nvSpPr>
        <p:spPr>
          <a:xfrm>
            <a:off x="30514886" y="6204499"/>
            <a:ext cx="1922431" cy="757020"/>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dirty="0">
                <a:solidFill>
                  <a:srgbClr val="000000"/>
                </a:solidFill>
              </a:rPr>
              <a:t>Send out emails to customers with Toll amounts</a:t>
            </a:r>
          </a:p>
        </p:txBody>
      </p:sp>
      <p:cxnSp>
        <p:nvCxnSpPr>
          <p:cNvPr id="65" name="Straight Arrow Connector 64">
            <a:extLst>
              <a:ext uri="{FF2B5EF4-FFF2-40B4-BE49-F238E27FC236}">
                <a16:creationId xmlns:a16="http://schemas.microsoft.com/office/drawing/2014/main" id="{C6633DB3-F536-BAB8-A315-4566415ECF90}"/>
              </a:ext>
            </a:extLst>
          </p:cNvPr>
          <p:cNvCxnSpPr>
            <a:cxnSpLocks/>
          </p:cNvCxnSpPr>
          <p:nvPr/>
        </p:nvCxnSpPr>
        <p:spPr>
          <a:xfrm flipV="1">
            <a:off x="29763725" y="5230041"/>
            <a:ext cx="740771" cy="23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Rounded Corners 66">
            <a:extLst>
              <a:ext uri="{FF2B5EF4-FFF2-40B4-BE49-F238E27FC236}">
                <a16:creationId xmlns:a16="http://schemas.microsoft.com/office/drawing/2014/main" id="{5E5B07BD-E5E4-575D-CAD2-935AC7A56F5B}"/>
              </a:ext>
            </a:extLst>
          </p:cNvPr>
          <p:cNvSpPr/>
          <p:nvPr/>
        </p:nvSpPr>
        <p:spPr>
          <a:xfrm>
            <a:off x="30531681" y="4943668"/>
            <a:ext cx="1922431" cy="57772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latin typeface="Arial"/>
                <a:cs typeface="Arial"/>
              </a:rPr>
              <a:t>Update Database with matched data daily using batch</a:t>
            </a:r>
            <a:endParaRPr lang="en-US" dirty="0">
              <a:solidFill>
                <a:srgbClr val="000000"/>
              </a:solidFill>
              <a:latin typeface="Arial"/>
              <a:cs typeface="Arial"/>
            </a:endParaRPr>
          </a:p>
        </p:txBody>
      </p:sp>
      <p:sp>
        <p:nvSpPr>
          <p:cNvPr id="68" name="Rectangle: Rounded Corners 67">
            <a:extLst>
              <a:ext uri="{FF2B5EF4-FFF2-40B4-BE49-F238E27FC236}">
                <a16:creationId xmlns:a16="http://schemas.microsoft.com/office/drawing/2014/main" id="{7D5FEDDA-C278-F1AA-CD8E-5B00104C1BCA}"/>
              </a:ext>
            </a:extLst>
          </p:cNvPr>
          <p:cNvSpPr/>
          <p:nvPr/>
        </p:nvSpPr>
        <p:spPr>
          <a:xfrm>
            <a:off x="22739761" y="6167703"/>
            <a:ext cx="1922431" cy="57772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latin typeface="Arial"/>
                <a:cs typeface="Arial"/>
              </a:rPr>
              <a:t>Trailer Subscription Information</a:t>
            </a:r>
          </a:p>
        </p:txBody>
      </p:sp>
      <p:sp>
        <p:nvSpPr>
          <p:cNvPr id="72" name="Rectangle 71">
            <a:extLst>
              <a:ext uri="{FF2B5EF4-FFF2-40B4-BE49-F238E27FC236}">
                <a16:creationId xmlns:a16="http://schemas.microsoft.com/office/drawing/2014/main" id="{A273EECD-5827-45C7-0516-A08EBF059C6F}"/>
              </a:ext>
            </a:extLst>
          </p:cNvPr>
          <p:cNvSpPr/>
          <p:nvPr/>
        </p:nvSpPr>
        <p:spPr>
          <a:xfrm>
            <a:off x="22405478" y="4192433"/>
            <a:ext cx="4789126" cy="400110"/>
          </a:xfrm>
          <a:prstGeom prst="rect">
            <a:avLst/>
          </a:prstGeom>
        </p:spPr>
        <p:txBody>
          <a:bodyPr wrap="square" lIns="91440" tIns="45720" rIns="91440" bIns="45720" anchor="t">
            <a:spAutoFit/>
          </a:bodyPr>
          <a:lstStyle/>
          <a:p>
            <a:r>
              <a:rPr lang="en-US" sz="2000" b="1" i="1" dirty="0">
                <a:solidFill>
                  <a:schemeClr val="bg2">
                    <a:lumMod val="49000"/>
                  </a:schemeClr>
                </a:solidFill>
                <a:latin typeface="Times New Roman"/>
                <a:cs typeface="Arial"/>
              </a:rPr>
              <a:t>TOLL</a:t>
            </a:r>
            <a:endParaRPr lang="en-US" sz="2000" i="1">
              <a:solidFill>
                <a:schemeClr val="bg2">
                  <a:lumMod val="49000"/>
                </a:schemeClr>
              </a:solidFill>
              <a:latin typeface="Times New Roman"/>
              <a:cs typeface="Times New Roman"/>
            </a:endParaRPr>
          </a:p>
        </p:txBody>
      </p:sp>
      <p:sp>
        <p:nvSpPr>
          <p:cNvPr id="73" name="Rectangle 72">
            <a:extLst>
              <a:ext uri="{FF2B5EF4-FFF2-40B4-BE49-F238E27FC236}">
                <a16:creationId xmlns:a16="http://schemas.microsoft.com/office/drawing/2014/main" id="{3F8DD11A-504B-5C66-CB28-E18A86297C80}"/>
              </a:ext>
            </a:extLst>
          </p:cNvPr>
          <p:cNvSpPr/>
          <p:nvPr/>
        </p:nvSpPr>
        <p:spPr>
          <a:xfrm>
            <a:off x="22424110" y="7141185"/>
            <a:ext cx="4789126" cy="400110"/>
          </a:xfrm>
          <a:prstGeom prst="rect">
            <a:avLst/>
          </a:prstGeom>
        </p:spPr>
        <p:txBody>
          <a:bodyPr wrap="square" lIns="91440" tIns="45720" rIns="91440" bIns="45720" anchor="t">
            <a:spAutoFit/>
          </a:bodyPr>
          <a:lstStyle/>
          <a:p>
            <a:r>
              <a:rPr lang="en-US" sz="2000" b="1" i="1" dirty="0">
                <a:solidFill>
                  <a:schemeClr val="bg2">
                    <a:lumMod val="49000"/>
                  </a:schemeClr>
                </a:solidFill>
                <a:latin typeface="Times New Roman"/>
                <a:cs typeface="Arial"/>
              </a:rPr>
              <a:t>DAMAGE</a:t>
            </a:r>
            <a:endParaRPr lang="en-US" sz="2000" i="1">
              <a:solidFill>
                <a:schemeClr val="bg2">
                  <a:lumMod val="49000"/>
                </a:schemeClr>
              </a:solidFill>
              <a:latin typeface="Times New Roman"/>
              <a:cs typeface="Times New Roman"/>
            </a:endParaRPr>
          </a:p>
        </p:txBody>
      </p:sp>
      <p:sp>
        <p:nvSpPr>
          <p:cNvPr id="74" name="Isosceles Triangle 73">
            <a:extLst>
              <a:ext uri="{FF2B5EF4-FFF2-40B4-BE49-F238E27FC236}">
                <a16:creationId xmlns:a16="http://schemas.microsoft.com/office/drawing/2014/main" id="{B3C92025-B1C2-DE05-55FF-4193F0FAA7E6}"/>
              </a:ext>
            </a:extLst>
          </p:cNvPr>
          <p:cNvSpPr/>
          <p:nvPr/>
        </p:nvSpPr>
        <p:spPr>
          <a:xfrm>
            <a:off x="23460196" y="14676763"/>
            <a:ext cx="3882134" cy="157452"/>
          </a:xfrm>
          <a:prstGeom prst="triangle">
            <a:avLst/>
          </a:prstGeom>
          <a:solidFill>
            <a:schemeClr val="bg2">
              <a:lumMod val="20000"/>
              <a:lumOff val="80000"/>
            </a:schemeClr>
          </a:solidFill>
          <a:ln>
            <a:noFill/>
          </a:ln>
          <a:effectLst>
            <a:outerShdw blurRad="63500" dist="38100" dir="2700000">
              <a:srgbClr val="000000">
                <a:alpha val="40000"/>
              </a:srgbClr>
            </a:outerShdw>
            <a:reflection stA="40000" endPos="54000" dist="508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08" name="Rectangle: Rounded Corners 107">
            <a:extLst>
              <a:ext uri="{FF2B5EF4-FFF2-40B4-BE49-F238E27FC236}">
                <a16:creationId xmlns:a16="http://schemas.microsoft.com/office/drawing/2014/main" id="{EB60DA79-98D9-455B-C0D6-1BF683D29B67}"/>
              </a:ext>
            </a:extLst>
          </p:cNvPr>
          <p:cNvSpPr/>
          <p:nvPr/>
        </p:nvSpPr>
        <p:spPr>
          <a:xfrm>
            <a:off x="25320940" y="11750294"/>
            <a:ext cx="2078246"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Look for previous 'n' customers who subscribed to the particular trailer</a:t>
            </a:r>
            <a:endParaRPr lang="en-US" dirty="0">
              <a:solidFill>
                <a:srgbClr val="000000"/>
              </a:solidFill>
            </a:endParaRPr>
          </a:p>
        </p:txBody>
      </p:sp>
      <p:sp>
        <p:nvSpPr>
          <p:cNvPr id="110" name="Rectangle: Rounded Corners 109">
            <a:extLst>
              <a:ext uri="{FF2B5EF4-FFF2-40B4-BE49-F238E27FC236}">
                <a16:creationId xmlns:a16="http://schemas.microsoft.com/office/drawing/2014/main" id="{A96DFA2A-AD02-06B6-8283-C65D12DC2FE0}"/>
              </a:ext>
            </a:extLst>
          </p:cNvPr>
          <p:cNvSpPr/>
          <p:nvPr/>
        </p:nvSpPr>
        <p:spPr>
          <a:xfrm>
            <a:off x="28559011" y="8579820"/>
            <a:ext cx="1823373" cy="709171"/>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Retrieve previous inspection report without the detected damage</a:t>
            </a:r>
          </a:p>
        </p:txBody>
      </p:sp>
      <p:cxnSp>
        <p:nvCxnSpPr>
          <p:cNvPr id="112" name="Straight Arrow Connector 111">
            <a:extLst>
              <a:ext uri="{FF2B5EF4-FFF2-40B4-BE49-F238E27FC236}">
                <a16:creationId xmlns:a16="http://schemas.microsoft.com/office/drawing/2014/main" id="{F04EE867-59A4-2182-DEA3-36A1EA703473}"/>
              </a:ext>
            </a:extLst>
          </p:cNvPr>
          <p:cNvCxnSpPr>
            <a:cxnSpLocks/>
          </p:cNvCxnSpPr>
          <p:nvPr/>
        </p:nvCxnSpPr>
        <p:spPr>
          <a:xfrm flipV="1">
            <a:off x="25159457" y="8375680"/>
            <a:ext cx="685538" cy="434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D5F55B4-B28C-7265-C7EA-362D5B1ECF3C}"/>
              </a:ext>
            </a:extLst>
          </p:cNvPr>
          <p:cNvCxnSpPr>
            <a:cxnSpLocks/>
          </p:cNvCxnSpPr>
          <p:nvPr/>
        </p:nvCxnSpPr>
        <p:spPr>
          <a:xfrm>
            <a:off x="27563733" y="8559703"/>
            <a:ext cx="625692" cy="16728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5" name="Rectangle: Rounded Corners 114">
            <a:extLst>
              <a:ext uri="{FF2B5EF4-FFF2-40B4-BE49-F238E27FC236}">
                <a16:creationId xmlns:a16="http://schemas.microsoft.com/office/drawing/2014/main" id="{B9659D5E-9329-8C4D-19AA-2F3B70CA831A}"/>
              </a:ext>
            </a:extLst>
          </p:cNvPr>
          <p:cNvSpPr/>
          <p:nvPr/>
        </p:nvSpPr>
        <p:spPr>
          <a:xfrm>
            <a:off x="23347397" y="8091727"/>
            <a:ext cx="1712881" cy="57772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a:solidFill>
                  <a:srgbClr val="000000"/>
                </a:solidFill>
                <a:cs typeface="Times"/>
              </a:rPr>
              <a:t>Read Report</a:t>
            </a:r>
            <a:endParaRPr lang="en-US" sz="1200" dirty="0">
              <a:solidFill>
                <a:srgbClr val="000000"/>
              </a:solidFill>
              <a:cs typeface="Times"/>
            </a:endParaRPr>
          </a:p>
        </p:txBody>
      </p:sp>
      <p:sp>
        <p:nvSpPr>
          <p:cNvPr id="116" name="Diamond 115">
            <a:extLst>
              <a:ext uri="{FF2B5EF4-FFF2-40B4-BE49-F238E27FC236}">
                <a16:creationId xmlns:a16="http://schemas.microsoft.com/office/drawing/2014/main" id="{A9F259AD-CA66-F76C-A61C-3BC5BA60090A}"/>
              </a:ext>
            </a:extLst>
          </p:cNvPr>
          <p:cNvSpPr/>
          <p:nvPr/>
        </p:nvSpPr>
        <p:spPr>
          <a:xfrm>
            <a:off x="25334829" y="12810969"/>
            <a:ext cx="2054250" cy="999600"/>
          </a:xfrm>
          <a:prstGeom prst="diamond">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Any customers found?</a:t>
            </a:r>
            <a:endParaRPr lang="en-US" dirty="0">
              <a:solidFill>
                <a:srgbClr val="000000"/>
              </a:solidFill>
            </a:endParaRPr>
          </a:p>
        </p:txBody>
      </p:sp>
      <p:sp>
        <p:nvSpPr>
          <p:cNvPr id="117" name="Rectangle: Rounded Corners 116">
            <a:extLst>
              <a:ext uri="{FF2B5EF4-FFF2-40B4-BE49-F238E27FC236}">
                <a16:creationId xmlns:a16="http://schemas.microsoft.com/office/drawing/2014/main" id="{69A1A130-C723-FF80-8C52-4585B88A6FCF}"/>
              </a:ext>
            </a:extLst>
          </p:cNvPr>
          <p:cNvSpPr/>
          <p:nvPr/>
        </p:nvSpPr>
        <p:spPr>
          <a:xfrm>
            <a:off x="26700448" y="14023409"/>
            <a:ext cx="2189131" cy="59677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ea typeface="+mn-lt"/>
                <a:cs typeface="+mn-lt"/>
              </a:rPr>
              <a:t>No data available</a:t>
            </a:r>
            <a:endParaRPr lang="en-US" dirty="0">
              <a:solidFill>
                <a:srgbClr val="000000"/>
              </a:solidFill>
              <a:ea typeface="+mn-lt"/>
              <a:cs typeface="+mn-lt"/>
            </a:endParaRPr>
          </a:p>
          <a:p>
            <a:pPr algn="ctr"/>
            <a:r>
              <a:rPr lang="en-US" sz="1200" dirty="0">
                <a:solidFill>
                  <a:srgbClr val="000000"/>
                </a:solidFill>
                <a:ea typeface="+mn-lt"/>
                <a:cs typeface="+mn-lt"/>
              </a:rPr>
              <a:t>Manual review required</a:t>
            </a:r>
            <a:endParaRPr lang="en-US" dirty="0">
              <a:solidFill>
                <a:srgbClr val="000000"/>
              </a:solidFill>
            </a:endParaRPr>
          </a:p>
        </p:txBody>
      </p:sp>
      <p:sp>
        <p:nvSpPr>
          <p:cNvPr id="118" name="Rectangle: Rounded Corners 117">
            <a:extLst>
              <a:ext uri="{FF2B5EF4-FFF2-40B4-BE49-F238E27FC236}">
                <a16:creationId xmlns:a16="http://schemas.microsoft.com/office/drawing/2014/main" id="{3DD98C7D-5EDC-60EB-67A1-41AEE24ED37B}"/>
              </a:ext>
            </a:extLst>
          </p:cNvPr>
          <p:cNvSpPr/>
          <p:nvPr/>
        </p:nvSpPr>
        <p:spPr>
          <a:xfrm>
            <a:off x="22893684" y="11750294"/>
            <a:ext cx="1858273"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Find all trips in between the two reports using telematics data</a:t>
            </a:r>
          </a:p>
        </p:txBody>
      </p:sp>
      <p:sp>
        <p:nvSpPr>
          <p:cNvPr id="120" name="Rectangle: Rounded Corners 119">
            <a:extLst>
              <a:ext uri="{FF2B5EF4-FFF2-40B4-BE49-F238E27FC236}">
                <a16:creationId xmlns:a16="http://schemas.microsoft.com/office/drawing/2014/main" id="{5D518FEE-1E32-2924-21B4-CD59FF28FE59}"/>
              </a:ext>
            </a:extLst>
          </p:cNvPr>
          <p:cNvSpPr/>
          <p:nvPr/>
        </p:nvSpPr>
        <p:spPr>
          <a:xfrm>
            <a:off x="22297381" y="13995317"/>
            <a:ext cx="2065306" cy="596776"/>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Assign Responsibility to customer</a:t>
            </a:r>
            <a:endParaRPr lang="en-US" dirty="0">
              <a:solidFill>
                <a:srgbClr val="000000"/>
              </a:solidFill>
            </a:endParaRPr>
          </a:p>
        </p:txBody>
      </p:sp>
      <p:sp>
        <p:nvSpPr>
          <p:cNvPr id="121" name="Rectangle: Rounded Corners 120">
            <a:extLst>
              <a:ext uri="{FF2B5EF4-FFF2-40B4-BE49-F238E27FC236}">
                <a16:creationId xmlns:a16="http://schemas.microsoft.com/office/drawing/2014/main" id="{D9D25C7C-098D-2C8F-07C2-761BEB269C1A}"/>
              </a:ext>
            </a:extLst>
          </p:cNvPr>
          <p:cNvSpPr/>
          <p:nvPr/>
        </p:nvSpPr>
        <p:spPr>
          <a:xfrm>
            <a:off x="24505923" y="14021200"/>
            <a:ext cx="2065306" cy="596776"/>
          </a:xfrm>
          <a:prstGeom prst="roundRect">
            <a:avLst/>
          </a:prstGeom>
          <a:solidFill>
            <a:srgbClr val="C4BD97"/>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List suspicious customers</a:t>
            </a:r>
            <a:endParaRPr lang="en-US" dirty="0">
              <a:solidFill>
                <a:srgbClr val="000000"/>
              </a:solidFill>
            </a:endParaRPr>
          </a:p>
        </p:txBody>
      </p:sp>
      <p:cxnSp>
        <p:nvCxnSpPr>
          <p:cNvPr id="122" name="Straight Arrow Connector 121">
            <a:extLst>
              <a:ext uri="{FF2B5EF4-FFF2-40B4-BE49-F238E27FC236}">
                <a16:creationId xmlns:a16="http://schemas.microsoft.com/office/drawing/2014/main" id="{092A37AD-D2B2-A27C-0407-1E96893A3521}"/>
              </a:ext>
            </a:extLst>
          </p:cNvPr>
          <p:cNvCxnSpPr>
            <a:cxnSpLocks/>
          </p:cNvCxnSpPr>
          <p:nvPr/>
        </p:nvCxnSpPr>
        <p:spPr>
          <a:xfrm flipH="1">
            <a:off x="24015925" y="11375212"/>
            <a:ext cx="714637" cy="31734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Diamond 110">
            <a:extLst>
              <a:ext uri="{FF2B5EF4-FFF2-40B4-BE49-F238E27FC236}">
                <a16:creationId xmlns:a16="http://schemas.microsoft.com/office/drawing/2014/main" id="{9D02A781-2653-3BA5-3688-790B147C0918}"/>
              </a:ext>
            </a:extLst>
          </p:cNvPr>
          <p:cNvSpPr/>
          <p:nvPr/>
        </p:nvSpPr>
        <p:spPr>
          <a:xfrm>
            <a:off x="25911665" y="7932004"/>
            <a:ext cx="1860156" cy="883145"/>
          </a:xfrm>
          <a:prstGeom prst="diamond">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If </a:t>
            </a:r>
            <a:r>
              <a:rPr lang="en-US" sz="1200">
                <a:solidFill>
                  <a:srgbClr val="000000"/>
                </a:solidFill>
              </a:rPr>
              <a:t>there is damage</a:t>
            </a:r>
            <a:r>
              <a:rPr lang="en-US" sz="1200" dirty="0">
                <a:solidFill>
                  <a:srgbClr val="000000"/>
                </a:solidFill>
              </a:rPr>
              <a:t>?</a:t>
            </a:r>
            <a:endParaRPr lang="en-US" sz="1200">
              <a:solidFill>
                <a:srgbClr val="000000"/>
              </a:solidFill>
              <a:cs typeface="Times"/>
            </a:endParaRPr>
          </a:p>
        </p:txBody>
      </p:sp>
      <p:cxnSp>
        <p:nvCxnSpPr>
          <p:cNvPr id="123" name="Straight Arrow Connector 122">
            <a:extLst>
              <a:ext uri="{FF2B5EF4-FFF2-40B4-BE49-F238E27FC236}">
                <a16:creationId xmlns:a16="http://schemas.microsoft.com/office/drawing/2014/main" id="{36FC00C8-59F4-ACB4-763C-5DAF0D65617A}"/>
              </a:ext>
            </a:extLst>
          </p:cNvPr>
          <p:cNvCxnSpPr>
            <a:cxnSpLocks/>
          </p:cNvCxnSpPr>
          <p:nvPr/>
        </p:nvCxnSpPr>
        <p:spPr>
          <a:xfrm>
            <a:off x="26350396" y="12465315"/>
            <a:ext cx="996" cy="30782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D5B52A4D-3C69-3AC1-3890-F25949BA3115}"/>
              </a:ext>
            </a:extLst>
          </p:cNvPr>
          <p:cNvCxnSpPr>
            <a:cxnSpLocks/>
          </p:cNvCxnSpPr>
          <p:nvPr/>
        </p:nvCxnSpPr>
        <p:spPr>
          <a:xfrm>
            <a:off x="25488798" y="11377971"/>
            <a:ext cx="720046" cy="30171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96">
            <a:extLst>
              <a:ext uri="{FF2B5EF4-FFF2-40B4-BE49-F238E27FC236}">
                <a16:creationId xmlns:a16="http://schemas.microsoft.com/office/drawing/2014/main" id="{60379B83-44AA-B82F-BAE2-D5004C843B15}"/>
              </a:ext>
            </a:extLst>
          </p:cNvPr>
          <p:cNvSpPr txBox="1"/>
          <p:nvPr/>
        </p:nvSpPr>
        <p:spPr>
          <a:xfrm>
            <a:off x="24160433" y="11272224"/>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dirty="0">
              <a:solidFill>
                <a:srgbClr val="000000"/>
              </a:solidFill>
            </a:endParaRPr>
          </a:p>
        </p:txBody>
      </p:sp>
      <p:sp>
        <p:nvSpPr>
          <p:cNvPr id="130" name="TextBox 97">
            <a:extLst>
              <a:ext uri="{FF2B5EF4-FFF2-40B4-BE49-F238E27FC236}">
                <a16:creationId xmlns:a16="http://schemas.microsoft.com/office/drawing/2014/main" id="{6BF3D9FB-CFA2-2870-3919-9B65C3D7C247}"/>
              </a:ext>
            </a:extLst>
          </p:cNvPr>
          <p:cNvSpPr txBox="1"/>
          <p:nvPr/>
        </p:nvSpPr>
        <p:spPr>
          <a:xfrm>
            <a:off x="22823409" y="13315604"/>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dirty="0">
              <a:solidFill>
                <a:srgbClr val="000000"/>
              </a:solidFill>
            </a:endParaRPr>
          </a:p>
        </p:txBody>
      </p:sp>
      <p:sp>
        <p:nvSpPr>
          <p:cNvPr id="131" name="TextBox 98">
            <a:extLst>
              <a:ext uri="{FF2B5EF4-FFF2-40B4-BE49-F238E27FC236}">
                <a16:creationId xmlns:a16="http://schemas.microsoft.com/office/drawing/2014/main" id="{819F5578-C28C-FF3C-FBF1-7515909356F6}"/>
              </a:ext>
            </a:extLst>
          </p:cNvPr>
          <p:cNvSpPr txBox="1"/>
          <p:nvPr/>
        </p:nvSpPr>
        <p:spPr>
          <a:xfrm>
            <a:off x="25319964" y="13482560"/>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a:solidFill>
                <a:srgbClr val="000000"/>
              </a:solidFill>
            </a:endParaRPr>
          </a:p>
        </p:txBody>
      </p:sp>
      <p:sp>
        <p:nvSpPr>
          <p:cNvPr id="132" name="TextBox 99">
            <a:extLst>
              <a:ext uri="{FF2B5EF4-FFF2-40B4-BE49-F238E27FC236}">
                <a16:creationId xmlns:a16="http://schemas.microsoft.com/office/drawing/2014/main" id="{75DCE009-7AEF-AAAA-D49D-6B36D9754678}"/>
              </a:ext>
            </a:extLst>
          </p:cNvPr>
          <p:cNvSpPr txBox="1"/>
          <p:nvPr/>
        </p:nvSpPr>
        <p:spPr>
          <a:xfrm>
            <a:off x="27222450" y="13407134"/>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dirty="0">
              <a:solidFill>
                <a:srgbClr val="000000"/>
              </a:solidFill>
            </a:endParaRPr>
          </a:p>
        </p:txBody>
      </p:sp>
      <p:sp>
        <p:nvSpPr>
          <p:cNvPr id="133" name="TextBox 100">
            <a:extLst>
              <a:ext uri="{FF2B5EF4-FFF2-40B4-BE49-F238E27FC236}">
                <a16:creationId xmlns:a16="http://schemas.microsoft.com/office/drawing/2014/main" id="{C4A6260A-6D48-7FD6-FB55-32BA221F86C1}"/>
              </a:ext>
            </a:extLst>
          </p:cNvPr>
          <p:cNvSpPr txBox="1"/>
          <p:nvPr/>
        </p:nvSpPr>
        <p:spPr>
          <a:xfrm>
            <a:off x="24696349" y="13495500"/>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dirty="0">
              <a:solidFill>
                <a:srgbClr val="000000"/>
              </a:solidFill>
            </a:endParaRPr>
          </a:p>
        </p:txBody>
      </p:sp>
      <p:sp>
        <p:nvSpPr>
          <p:cNvPr id="134" name="TextBox 101">
            <a:extLst>
              <a:ext uri="{FF2B5EF4-FFF2-40B4-BE49-F238E27FC236}">
                <a16:creationId xmlns:a16="http://schemas.microsoft.com/office/drawing/2014/main" id="{16139CE1-6FBC-0EB4-DE69-B920371AB29C}"/>
              </a:ext>
            </a:extLst>
          </p:cNvPr>
          <p:cNvSpPr txBox="1"/>
          <p:nvPr/>
        </p:nvSpPr>
        <p:spPr>
          <a:xfrm>
            <a:off x="25808976" y="11241490"/>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dirty="0">
              <a:solidFill>
                <a:srgbClr val="000000"/>
              </a:solidFill>
            </a:endParaRPr>
          </a:p>
        </p:txBody>
      </p:sp>
      <p:pic>
        <p:nvPicPr>
          <p:cNvPr id="6" name="Picture 5" descr="A red truck with a trailer&#10;&#10;AI-generated content may be incorrect.">
            <a:extLst>
              <a:ext uri="{FF2B5EF4-FFF2-40B4-BE49-F238E27FC236}">
                <a16:creationId xmlns:a16="http://schemas.microsoft.com/office/drawing/2014/main" id="{17FC9AB6-0368-7A10-7759-A5B77B50E4C2}"/>
              </a:ext>
            </a:extLst>
          </p:cNvPr>
          <p:cNvPicPr>
            <a:picLocks noChangeAspect="1"/>
          </p:cNvPicPr>
          <p:nvPr/>
        </p:nvPicPr>
        <p:blipFill>
          <a:blip r:embed="rId4"/>
          <a:stretch>
            <a:fillRect/>
          </a:stretch>
        </p:blipFill>
        <p:spPr>
          <a:xfrm>
            <a:off x="901854" y="16835321"/>
            <a:ext cx="3217572" cy="3228305"/>
          </a:xfrm>
          <a:prstGeom prst="rect">
            <a:avLst/>
          </a:prstGeom>
        </p:spPr>
      </p:pic>
      <p:pic>
        <p:nvPicPr>
          <p:cNvPr id="19" name="Picture 18" descr="A logo of a wifi signal&#10;&#10;AI-generated content may be incorrect.">
            <a:extLst>
              <a:ext uri="{FF2B5EF4-FFF2-40B4-BE49-F238E27FC236}">
                <a16:creationId xmlns:a16="http://schemas.microsoft.com/office/drawing/2014/main" id="{8CC48D3F-FACA-D61A-D8D7-53B58A14805E}"/>
              </a:ext>
            </a:extLst>
          </p:cNvPr>
          <p:cNvPicPr>
            <a:picLocks noChangeAspect="1"/>
          </p:cNvPicPr>
          <p:nvPr/>
        </p:nvPicPr>
        <p:blipFill>
          <a:blip r:embed="rId5"/>
          <a:stretch>
            <a:fillRect/>
          </a:stretch>
        </p:blipFill>
        <p:spPr>
          <a:xfrm>
            <a:off x="3046775" y="16938354"/>
            <a:ext cx="914402" cy="927280"/>
          </a:xfrm>
          <a:prstGeom prst="rect">
            <a:avLst/>
          </a:prstGeom>
        </p:spPr>
      </p:pic>
      <p:pic>
        <p:nvPicPr>
          <p:cNvPr id="20" name="Picture 19" descr="A brain and light bulb with a gear&#10;&#10;AI-generated content may be incorrect.">
            <a:extLst>
              <a:ext uri="{FF2B5EF4-FFF2-40B4-BE49-F238E27FC236}">
                <a16:creationId xmlns:a16="http://schemas.microsoft.com/office/drawing/2014/main" id="{610A73A9-1EBF-8AC9-CDBE-6649694F9C76}"/>
              </a:ext>
            </a:extLst>
          </p:cNvPr>
          <p:cNvPicPr>
            <a:picLocks noChangeAspect="1"/>
          </p:cNvPicPr>
          <p:nvPr/>
        </p:nvPicPr>
        <p:blipFill>
          <a:blip r:embed="rId6"/>
          <a:stretch>
            <a:fillRect/>
          </a:stretch>
        </p:blipFill>
        <p:spPr>
          <a:xfrm>
            <a:off x="4498159" y="18140382"/>
            <a:ext cx="914401" cy="927279"/>
          </a:xfrm>
          <a:prstGeom prst="rect">
            <a:avLst/>
          </a:prstGeom>
        </p:spPr>
      </p:pic>
      <p:pic>
        <p:nvPicPr>
          <p:cNvPr id="21" name="Picture 20" descr="A handshake with a dollar sign&#10;&#10;AI-generated content may be incorrect.">
            <a:extLst>
              <a:ext uri="{FF2B5EF4-FFF2-40B4-BE49-F238E27FC236}">
                <a16:creationId xmlns:a16="http://schemas.microsoft.com/office/drawing/2014/main" id="{296A8129-2C09-0036-03D9-B21FEE148C45}"/>
              </a:ext>
            </a:extLst>
          </p:cNvPr>
          <p:cNvPicPr>
            <a:picLocks noChangeAspect="1"/>
          </p:cNvPicPr>
          <p:nvPr/>
        </p:nvPicPr>
        <p:blipFill>
          <a:blip r:embed="rId7"/>
          <a:stretch>
            <a:fillRect/>
          </a:stretch>
        </p:blipFill>
        <p:spPr>
          <a:xfrm>
            <a:off x="5734045" y="18174725"/>
            <a:ext cx="914401" cy="858593"/>
          </a:xfrm>
          <a:prstGeom prst="rect">
            <a:avLst/>
          </a:prstGeom>
        </p:spPr>
      </p:pic>
      <p:pic>
        <p:nvPicPr>
          <p:cNvPr id="3" name="Picture 2" descr="A magnifying glass and a picture of a person&#10;&#10;AI-generated content may be incorrect.">
            <a:extLst>
              <a:ext uri="{FF2B5EF4-FFF2-40B4-BE49-F238E27FC236}">
                <a16:creationId xmlns:a16="http://schemas.microsoft.com/office/drawing/2014/main" id="{FAED5053-9F42-7076-66D3-0D0D992E7E7D}"/>
              </a:ext>
            </a:extLst>
          </p:cNvPr>
          <p:cNvPicPr>
            <a:picLocks noChangeAspect="1"/>
          </p:cNvPicPr>
          <p:nvPr/>
        </p:nvPicPr>
        <p:blipFill>
          <a:blip r:embed="rId8"/>
          <a:stretch>
            <a:fillRect/>
          </a:stretch>
        </p:blipFill>
        <p:spPr>
          <a:xfrm>
            <a:off x="6947355" y="17552085"/>
            <a:ext cx="1813558" cy="1836419"/>
          </a:xfrm>
          <a:prstGeom prst="rect">
            <a:avLst/>
          </a:prstGeom>
        </p:spPr>
      </p:pic>
      <p:sp>
        <p:nvSpPr>
          <p:cNvPr id="8" name="Diamond 7">
            <a:extLst>
              <a:ext uri="{FF2B5EF4-FFF2-40B4-BE49-F238E27FC236}">
                <a16:creationId xmlns:a16="http://schemas.microsoft.com/office/drawing/2014/main" id="{7C64A13A-A6CE-0BCC-E048-7856D21CA329}"/>
              </a:ext>
            </a:extLst>
          </p:cNvPr>
          <p:cNvSpPr/>
          <p:nvPr/>
        </p:nvSpPr>
        <p:spPr>
          <a:xfrm>
            <a:off x="22962494" y="12805793"/>
            <a:ext cx="2054250" cy="999600"/>
          </a:xfrm>
          <a:prstGeom prst="diamond">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 </a:t>
            </a:r>
            <a:r>
              <a:rPr lang="en-US" sz="1200" dirty="0">
                <a:solidFill>
                  <a:srgbClr val="000000"/>
                </a:solidFill>
                <a:ea typeface="+mn-lt"/>
                <a:cs typeface="+mn-lt"/>
              </a:rPr>
              <a:t>Only one customer picked trailer?</a:t>
            </a:r>
            <a:endParaRPr lang="en-US" dirty="0">
              <a:solidFill>
                <a:srgbClr val="000000"/>
              </a:solidFill>
            </a:endParaRPr>
          </a:p>
        </p:txBody>
      </p:sp>
      <p:sp>
        <p:nvSpPr>
          <p:cNvPr id="17" name="Rectangle 16">
            <a:extLst>
              <a:ext uri="{FF2B5EF4-FFF2-40B4-BE49-F238E27FC236}">
                <a16:creationId xmlns:a16="http://schemas.microsoft.com/office/drawing/2014/main" id="{C9B4D23D-7D0A-5D8B-63F7-3F63C3CE303F}"/>
              </a:ext>
            </a:extLst>
          </p:cNvPr>
          <p:cNvSpPr/>
          <p:nvPr/>
        </p:nvSpPr>
        <p:spPr bwMode="auto">
          <a:xfrm>
            <a:off x="821118" y="14251175"/>
            <a:ext cx="2426612" cy="743843"/>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Large Carriers</a:t>
            </a:r>
            <a:endParaRPr lang="en-US" sz="1800" b="0" i="0" u="none" strike="noStrike" cap="none" normalizeH="0" baseline="0">
              <a:ln>
                <a:noFill/>
              </a:ln>
              <a:effectLst/>
              <a:latin typeface="Times" charset="0"/>
              <a:cs typeface="Times"/>
            </a:endParaRPr>
          </a:p>
        </p:txBody>
      </p:sp>
      <p:sp>
        <p:nvSpPr>
          <p:cNvPr id="29" name="Rectangle 28">
            <a:extLst>
              <a:ext uri="{FF2B5EF4-FFF2-40B4-BE49-F238E27FC236}">
                <a16:creationId xmlns:a16="http://schemas.microsoft.com/office/drawing/2014/main" id="{5EB35800-EDB5-0BBE-2A57-90700E72F066}"/>
              </a:ext>
            </a:extLst>
          </p:cNvPr>
          <p:cNvSpPr/>
          <p:nvPr/>
        </p:nvSpPr>
        <p:spPr bwMode="auto">
          <a:xfrm>
            <a:off x="4061964" y="13231894"/>
            <a:ext cx="1871387" cy="702085"/>
          </a:xfrm>
          <a:prstGeom prst="rect">
            <a:avLst/>
          </a:prstGeom>
          <a:no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r>
              <a:rPr lang="en-US" sz="1800" dirty="0">
                <a:latin typeface="Times"/>
                <a:cs typeface="Times"/>
              </a:rPr>
              <a:t>Mid-Sized Carriers</a:t>
            </a:r>
            <a:endParaRPr lang="en-US" sz="1800" b="0" i="0" u="none" strike="noStrike" cap="none" normalizeH="0" baseline="0">
              <a:ln>
                <a:noFill/>
              </a:ln>
              <a:effectLst/>
              <a:cs typeface="Times"/>
            </a:endParaRPr>
          </a:p>
        </p:txBody>
      </p:sp>
      <p:pic>
        <p:nvPicPr>
          <p:cNvPr id="16" name="Picture 15" descr="A group of trucks silhouettes&#10;&#10;AI-generated content may be incorrect.">
            <a:extLst>
              <a:ext uri="{FF2B5EF4-FFF2-40B4-BE49-F238E27FC236}">
                <a16:creationId xmlns:a16="http://schemas.microsoft.com/office/drawing/2014/main" id="{0625277F-6D8C-8DFF-9705-C4FABB0C845A}"/>
              </a:ext>
            </a:extLst>
          </p:cNvPr>
          <p:cNvPicPr>
            <a:picLocks noChangeAspect="1"/>
          </p:cNvPicPr>
          <p:nvPr/>
        </p:nvPicPr>
        <p:blipFill>
          <a:blip r:embed="rId9"/>
          <a:stretch>
            <a:fillRect/>
          </a:stretch>
        </p:blipFill>
        <p:spPr>
          <a:xfrm>
            <a:off x="775001" y="12233309"/>
            <a:ext cx="1171759" cy="1930469"/>
          </a:xfrm>
          <a:prstGeom prst="rect">
            <a:avLst/>
          </a:prstGeom>
        </p:spPr>
      </p:pic>
      <p:pic>
        <p:nvPicPr>
          <p:cNvPr id="30" name="Picture 29" descr="A silhouette of a truck&#10;&#10;AI-generated content may be incorrect.">
            <a:extLst>
              <a:ext uri="{FF2B5EF4-FFF2-40B4-BE49-F238E27FC236}">
                <a16:creationId xmlns:a16="http://schemas.microsoft.com/office/drawing/2014/main" id="{03E30BE5-B3CB-A039-9301-F5CFE726B255}"/>
              </a:ext>
            </a:extLst>
          </p:cNvPr>
          <p:cNvPicPr>
            <a:picLocks noChangeAspect="1"/>
          </p:cNvPicPr>
          <p:nvPr/>
        </p:nvPicPr>
        <p:blipFill>
          <a:blip r:embed="rId10"/>
          <a:stretch>
            <a:fillRect/>
          </a:stretch>
        </p:blipFill>
        <p:spPr>
          <a:xfrm>
            <a:off x="4547137" y="14028988"/>
            <a:ext cx="895071" cy="680573"/>
          </a:xfrm>
          <a:prstGeom prst="rect">
            <a:avLst/>
          </a:prstGeom>
        </p:spPr>
      </p:pic>
      <p:pic>
        <p:nvPicPr>
          <p:cNvPr id="28" name="Picture 27" descr="A silhouette of a truck&#10;&#10;AI-generated content may be incorrect.">
            <a:extLst>
              <a:ext uri="{FF2B5EF4-FFF2-40B4-BE49-F238E27FC236}">
                <a16:creationId xmlns:a16="http://schemas.microsoft.com/office/drawing/2014/main" id="{F8F74898-DD82-7EBE-304E-9C8EEDC013C6}"/>
              </a:ext>
            </a:extLst>
          </p:cNvPr>
          <p:cNvPicPr>
            <a:picLocks noChangeAspect="1"/>
          </p:cNvPicPr>
          <p:nvPr/>
        </p:nvPicPr>
        <p:blipFill>
          <a:blip r:embed="rId11"/>
          <a:stretch>
            <a:fillRect/>
          </a:stretch>
        </p:blipFill>
        <p:spPr>
          <a:xfrm>
            <a:off x="4467523" y="11996987"/>
            <a:ext cx="988137" cy="1131202"/>
          </a:xfrm>
          <a:prstGeom prst="rect">
            <a:avLst/>
          </a:prstGeom>
        </p:spPr>
      </p:pic>
      <p:sp>
        <p:nvSpPr>
          <p:cNvPr id="31" name="Rectangle 30">
            <a:extLst>
              <a:ext uri="{FF2B5EF4-FFF2-40B4-BE49-F238E27FC236}">
                <a16:creationId xmlns:a16="http://schemas.microsoft.com/office/drawing/2014/main" id="{3663D265-9D7B-DEF2-B11B-426B2958C548}"/>
              </a:ext>
            </a:extLst>
          </p:cNvPr>
          <p:cNvSpPr/>
          <p:nvPr/>
        </p:nvSpPr>
        <p:spPr bwMode="auto">
          <a:xfrm>
            <a:off x="3607279" y="14797822"/>
            <a:ext cx="2751282" cy="715025"/>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r>
              <a:rPr lang="en-US" sz="1800" dirty="0">
                <a:latin typeface="Times"/>
                <a:cs typeface="Times"/>
              </a:rPr>
              <a:t>Small Carriers</a:t>
            </a:r>
            <a:endParaRPr lang="en-US" sz="1800" b="0" i="0" u="none" strike="noStrike" cap="none" normalizeH="0" baseline="0">
              <a:ln>
                <a:noFill/>
              </a:ln>
              <a:effectLst/>
              <a:cs typeface="Times"/>
            </a:endParaRPr>
          </a:p>
        </p:txBody>
      </p:sp>
      <p:sp>
        <p:nvSpPr>
          <p:cNvPr id="36" name="Rectangle 35">
            <a:extLst>
              <a:ext uri="{FF2B5EF4-FFF2-40B4-BE49-F238E27FC236}">
                <a16:creationId xmlns:a16="http://schemas.microsoft.com/office/drawing/2014/main" id="{61F725B3-72D9-2F4A-317E-CF50B6717014}"/>
              </a:ext>
            </a:extLst>
          </p:cNvPr>
          <p:cNvSpPr/>
          <p:nvPr/>
        </p:nvSpPr>
        <p:spPr bwMode="auto">
          <a:xfrm>
            <a:off x="7881492" y="12880407"/>
            <a:ext cx="2021944" cy="725024"/>
          </a:xfrm>
          <a:prstGeom prst="rect">
            <a:avLst/>
          </a:prstGeom>
          <a:no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Independent </a:t>
            </a:r>
            <a:endParaRPr lang="en-US" sz="1800">
              <a:cs typeface="Times"/>
            </a:endParaRPr>
          </a:p>
          <a:p>
            <a:r>
              <a:rPr lang="en-US" sz="1800" dirty="0">
                <a:latin typeface="Times"/>
                <a:cs typeface="Times"/>
              </a:rPr>
              <a:t>Contractors</a:t>
            </a:r>
            <a:endParaRPr lang="en-US" sz="1800" b="0" i="0" u="none" strike="noStrike" cap="none" normalizeH="0" baseline="0" dirty="0">
              <a:ln>
                <a:noFill/>
              </a:ln>
              <a:effectLst/>
              <a:cs typeface="Times"/>
            </a:endParaRPr>
          </a:p>
        </p:txBody>
      </p:sp>
      <p:pic>
        <p:nvPicPr>
          <p:cNvPr id="37" name="Picture 36" descr="A black steering wheel with a white center&#10;&#10;AI-generated content may be incorrect.">
            <a:extLst>
              <a:ext uri="{FF2B5EF4-FFF2-40B4-BE49-F238E27FC236}">
                <a16:creationId xmlns:a16="http://schemas.microsoft.com/office/drawing/2014/main" id="{5431A585-6875-16F5-88DB-A9E4E339787C}"/>
              </a:ext>
            </a:extLst>
          </p:cNvPr>
          <p:cNvPicPr>
            <a:picLocks noChangeAspect="1"/>
          </p:cNvPicPr>
          <p:nvPr/>
        </p:nvPicPr>
        <p:blipFill>
          <a:blip r:embed="rId12"/>
          <a:stretch>
            <a:fillRect/>
          </a:stretch>
        </p:blipFill>
        <p:spPr>
          <a:xfrm>
            <a:off x="8189540" y="13581438"/>
            <a:ext cx="877653" cy="961076"/>
          </a:xfrm>
          <a:prstGeom prst="rect">
            <a:avLst/>
          </a:prstGeom>
        </p:spPr>
      </p:pic>
      <p:sp>
        <p:nvSpPr>
          <p:cNvPr id="32" name="Arrow: Right 31">
            <a:extLst>
              <a:ext uri="{FF2B5EF4-FFF2-40B4-BE49-F238E27FC236}">
                <a16:creationId xmlns:a16="http://schemas.microsoft.com/office/drawing/2014/main" id="{EAE3474C-EF93-7076-2819-D97501639379}"/>
              </a:ext>
            </a:extLst>
          </p:cNvPr>
          <p:cNvSpPr/>
          <p:nvPr/>
        </p:nvSpPr>
        <p:spPr bwMode="auto">
          <a:xfrm>
            <a:off x="5677451" y="12423239"/>
            <a:ext cx="2055945" cy="712263"/>
          </a:xfrm>
          <a:prstGeom prst="rightArrow">
            <a:avLst/>
          </a:prstGeom>
          <a:solidFill>
            <a:schemeClr val="bg2">
              <a:lumMod val="90000"/>
            </a:schemeClr>
          </a:solidFill>
          <a:ln w="952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Loads Assigned</a:t>
            </a:r>
            <a:endParaRPr lang="en-US" sz="1800" b="0" i="0" u="none" strike="noStrike" cap="none" normalizeH="0" baseline="0">
              <a:ln>
                <a:noFill/>
              </a:ln>
              <a:effectLst/>
              <a:latin typeface="Times" charset="0"/>
              <a:cs typeface="Times"/>
            </a:endParaRPr>
          </a:p>
        </p:txBody>
      </p:sp>
      <p:pic>
        <p:nvPicPr>
          <p:cNvPr id="34" name="Picture 33" descr="A silhouette of a truck&#10;&#10;AI-generated content may be incorrect.">
            <a:extLst>
              <a:ext uri="{FF2B5EF4-FFF2-40B4-BE49-F238E27FC236}">
                <a16:creationId xmlns:a16="http://schemas.microsoft.com/office/drawing/2014/main" id="{6F317624-54BB-CAB1-F192-71909F611D1B}"/>
              </a:ext>
            </a:extLst>
          </p:cNvPr>
          <p:cNvPicPr>
            <a:picLocks noChangeAspect="1"/>
          </p:cNvPicPr>
          <p:nvPr/>
        </p:nvPicPr>
        <p:blipFill>
          <a:blip r:embed="rId13"/>
          <a:stretch>
            <a:fillRect/>
          </a:stretch>
        </p:blipFill>
        <p:spPr>
          <a:xfrm>
            <a:off x="8117937" y="11895872"/>
            <a:ext cx="962082" cy="863784"/>
          </a:xfrm>
          <a:prstGeom prst="rect">
            <a:avLst/>
          </a:prstGeom>
        </p:spPr>
      </p:pic>
      <p:sp>
        <p:nvSpPr>
          <p:cNvPr id="38" name="Rectangle 37">
            <a:extLst>
              <a:ext uri="{FF2B5EF4-FFF2-40B4-BE49-F238E27FC236}">
                <a16:creationId xmlns:a16="http://schemas.microsoft.com/office/drawing/2014/main" id="{8E5015FF-F211-562D-8964-40A7D926CFF2}"/>
              </a:ext>
            </a:extLst>
          </p:cNvPr>
          <p:cNvSpPr/>
          <p:nvPr/>
        </p:nvSpPr>
        <p:spPr bwMode="auto">
          <a:xfrm>
            <a:off x="7627283" y="14714869"/>
            <a:ext cx="2725402" cy="702085"/>
          </a:xfrm>
          <a:prstGeom prst="rect">
            <a:avLst/>
          </a:prstGeom>
          <a:no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Company Drivers</a:t>
            </a:r>
            <a:endParaRPr lang="en-US" sz="1800" b="0" i="0" u="none" strike="noStrike" cap="none" normalizeH="0" baseline="0">
              <a:ln>
                <a:noFill/>
              </a:ln>
              <a:effectLst/>
              <a:cs typeface="Times"/>
            </a:endParaRPr>
          </a:p>
        </p:txBody>
      </p:sp>
      <p:sp>
        <p:nvSpPr>
          <p:cNvPr id="43" name="Arrow: Right 42">
            <a:extLst>
              <a:ext uri="{FF2B5EF4-FFF2-40B4-BE49-F238E27FC236}">
                <a16:creationId xmlns:a16="http://schemas.microsoft.com/office/drawing/2014/main" id="{8AF17DBA-7AFC-10E1-F1C6-FCC2122CC960}"/>
              </a:ext>
            </a:extLst>
          </p:cNvPr>
          <p:cNvSpPr/>
          <p:nvPr/>
        </p:nvSpPr>
        <p:spPr bwMode="auto">
          <a:xfrm>
            <a:off x="2247207" y="13577387"/>
            <a:ext cx="2041992" cy="738141"/>
          </a:xfrm>
          <a:prstGeom prst="rightArrow">
            <a:avLst/>
          </a:prstGeom>
          <a:solidFill>
            <a:schemeClr val="bg2">
              <a:lumMod val="90000"/>
            </a:schemeClr>
          </a:solidFill>
          <a:ln w="952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a:latin typeface="Times"/>
                <a:cs typeface="Times"/>
              </a:rPr>
              <a:t>Brokered Loads</a:t>
            </a:r>
          </a:p>
          <a:p>
            <a:endParaRPr lang="en-US" sz="1800" b="0" i="0" u="none" strike="noStrike" cap="none" normalizeH="0" baseline="0" dirty="0">
              <a:ln>
                <a:noFill/>
              </a:ln>
              <a:effectLst/>
              <a:latin typeface="Times" charset="0"/>
              <a:cs typeface="Times"/>
            </a:endParaRPr>
          </a:p>
        </p:txBody>
      </p:sp>
      <p:sp>
        <p:nvSpPr>
          <p:cNvPr id="45" name="Arrow: Right 44">
            <a:extLst>
              <a:ext uri="{FF2B5EF4-FFF2-40B4-BE49-F238E27FC236}">
                <a16:creationId xmlns:a16="http://schemas.microsoft.com/office/drawing/2014/main" id="{5F69154B-9145-BDC6-96D4-3D313DBD9140}"/>
              </a:ext>
            </a:extLst>
          </p:cNvPr>
          <p:cNvSpPr/>
          <p:nvPr/>
        </p:nvSpPr>
        <p:spPr bwMode="auto">
          <a:xfrm>
            <a:off x="5754260" y="13515170"/>
            <a:ext cx="2049241" cy="751082"/>
          </a:xfrm>
          <a:prstGeom prst="rightArrow">
            <a:avLst/>
          </a:prstGeom>
          <a:solidFill>
            <a:schemeClr val="bg2">
              <a:lumMod val="90000"/>
            </a:schemeClr>
          </a:solidFill>
          <a:ln w="952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dirty="0">
                <a:latin typeface="Times"/>
                <a:cs typeface="Times"/>
              </a:rPr>
              <a:t>Loads Assigned</a:t>
            </a:r>
            <a:endParaRPr lang="en-US" sz="1800" b="0" i="0" u="none" strike="noStrike" cap="none" normalizeH="0" baseline="0">
              <a:ln>
                <a:noFill/>
              </a:ln>
              <a:effectLst/>
              <a:latin typeface="Times" charset="0"/>
              <a:cs typeface="Times"/>
            </a:endParaRPr>
          </a:p>
        </p:txBody>
      </p:sp>
      <p:sp>
        <p:nvSpPr>
          <p:cNvPr id="42" name="Arrow: Right 41">
            <a:extLst>
              <a:ext uri="{FF2B5EF4-FFF2-40B4-BE49-F238E27FC236}">
                <a16:creationId xmlns:a16="http://schemas.microsoft.com/office/drawing/2014/main" id="{AB35A3B5-8C6B-4D74-B51E-09AEEAB2B56B}"/>
              </a:ext>
            </a:extLst>
          </p:cNvPr>
          <p:cNvSpPr/>
          <p:nvPr/>
        </p:nvSpPr>
        <p:spPr bwMode="auto">
          <a:xfrm>
            <a:off x="2220749" y="12576867"/>
            <a:ext cx="2052309" cy="725202"/>
          </a:xfrm>
          <a:prstGeom prst="rightArrow">
            <a:avLst/>
          </a:prstGeom>
          <a:solidFill>
            <a:schemeClr val="bg2">
              <a:lumMod val="90000"/>
            </a:schemeClr>
          </a:solidFill>
          <a:ln w="952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r>
              <a:rPr lang="en-US" sz="1800">
                <a:latin typeface="Times"/>
                <a:cs typeface="Times"/>
              </a:rPr>
              <a:t>Brokered Loads</a:t>
            </a:r>
          </a:p>
          <a:p>
            <a:endParaRPr lang="en-US" sz="1800" b="0" i="0" u="none" strike="noStrike" cap="none" normalizeH="0" baseline="0">
              <a:ln>
                <a:noFill/>
              </a:ln>
              <a:effectLst/>
              <a:latin typeface="Times" charset="0"/>
              <a:cs typeface="Times"/>
            </a:endParaRPr>
          </a:p>
        </p:txBody>
      </p:sp>
      <p:graphicFrame>
        <p:nvGraphicFramePr>
          <p:cNvPr id="24" name="Table 23">
            <a:extLst>
              <a:ext uri="{FF2B5EF4-FFF2-40B4-BE49-F238E27FC236}">
                <a16:creationId xmlns:a16="http://schemas.microsoft.com/office/drawing/2014/main" id="{7274279B-F42A-9AD0-943B-BBB4F1D0EF0B}"/>
              </a:ext>
            </a:extLst>
          </p:cNvPr>
          <p:cNvGraphicFramePr>
            <a:graphicFrameLocks noGrp="1"/>
          </p:cNvGraphicFramePr>
          <p:nvPr>
            <p:extLst>
              <p:ext uri="{D42A27DB-BD31-4B8C-83A1-F6EECF244321}">
                <p14:modId xmlns:p14="http://schemas.microsoft.com/office/powerpoint/2010/main" val="1532294284"/>
              </p:ext>
            </p:extLst>
          </p:nvPr>
        </p:nvGraphicFramePr>
        <p:xfrm>
          <a:off x="22786428" y="14868274"/>
          <a:ext cx="5153025" cy="909982"/>
        </p:xfrm>
        <a:graphic>
          <a:graphicData uri="http://schemas.openxmlformats.org/drawingml/2006/table">
            <a:tbl>
              <a:tblPr firstRow="1" firstCol="1" bandRow="1">
                <a:tableStyleId>{5C22544A-7EE6-4342-B048-85BDC9FD1C3A}</a:tableStyleId>
              </a:tblPr>
              <a:tblGrid>
                <a:gridCol w="1076325">
                  <a:extLst>
                    <a:ext uri="{9D8B030D-6E8A-4147-A177-3AD203B41FA5}">
                      <a16:colId xmlns:a16="http://schemas.microsoft.com/office/drawing/2014/main" val="1860262710"/>
                    </a:ext>
                  </a:extLst>
                </a:gridCol>
                <a:gridCol w="1104900">
                  <a:extLst>
                    <a:ext uri="{9D8B030D-6E8A-4147-A177-3AD203B41FA5}">
                      <a16:colId xmlns:a16="http://schemas.microsoft.com/office/drawing/2014/main" val="45932590"/>
                    </a:ext>
                  </a:extLst>
                </a:gridCol>
                <a:gridCol w="1028700">
                  <a:extLst>
                    <a:ext uri="{9D8B030D-6E8A-4147-A177-3AD203B41FA5}">
                      <a16:colId xmlns:a16="http://schemas.microsoft.com/office/drawing/2014/main" val="851900084"/>
                    </a:ext>
                  </a:extLst>
                </a:gridCol>
                <a:gridCol w="1085850">
                  <a:extLst>
                    <a:ext uri="{9D8B030D-6E8A-4147-A177-3AD203B41FA5}">
                      <a16:colId xmlns:a16="http://schemas.microsoft.com/office/drawing/2014/main" val="2635739870"/>
                    </a:ext>
                  </a:extLst>
                </a:gridCol>
                <a:gridCol w="857250">
                  <a:extLst>
                    <a:ext uri="{9D8B030D-6E8A-4147-A177-3AD203B41FA5}">
                      <a16:colId xmlns:a16="http://schemas.microsoft.com/office/drawing/2014/main" val="2440246395"/>
                    </a:ext>
                  </a:extLst>
                </a:gridCol>
              </a:tblGrid>
              <a:tr h="224182">
                <a:tc>
                  <a:txBody>
                    <a:bodyPr/>
                    <a:lstStyle/>
                    <a:p>
                      <a:pPr algn="ctr" fontAlgn="base">
                        <a:lnSpc>
                          <a:spcPct val="107000"/>
                        </a:lnSpc>
                        <a:spcAft>
                          <a:spcPts val="800"/>
                        </a:spcAft>
                        <a:buNone/>
                      </a:pPr>
                      <a:r>
                        <a:rPr lang="en-US" sz="1000" b="1" kern="0" dirty="0" err="1">
                          <a:solidFill>
                            <a:srgbClr val="000000"/>
                          </a:solidFill>
                          <a:effectLst/>
                          <a:latin typeface="Franklin Gothic Book"/>
                          <a:ea typeface="Times New Roman" panose="02020603050405020304" pitchFamily="18" charset="0"/>
                          <a:cs typeface="Times New Roman"/>
                        </a:rPr>
                        <a:t>Start_Location</a:t>
                      </a:r>
                      <a:endParaRPr lang="en-US" sz="1100" kern="100" dirty="0" err="1">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err="1">
                          <a:solidFill>
                            <a:srgbClr val="000000"/>
                          </a:solidFill>
                          <a:effectLst/>
                          <a:latin typeface="Franklin Gothic Book"/>
                          <a:ea typeface="Times New Roman" panose="02020603050405020304" pitchFamily="18" charset="0"/>
                          <a:cs typeface="Times New Roman"/>
                        </a:rPr>
                        <a:t>Start_time</a:t>
                      </a:r>
                      <a:endParaRPr lang="en-US" sz="1100" kern="100" dirty="0" err="1">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err="1">
                          <a:solidFill>
                            <a:srgbClr val="000000"/>
                          </a:solidFill>
                          <a:effectLst/>
                          <a:latin typeface="Franklin Gothic Book"/>
                          <a:ea typeface="Times New Roman" panose="02020603050405020304" pitchFamily="18" charset="0"/>
                          <a:cs typeface="Times New Roman"/>
                        </a:rPr>
                        <a:t>End_Location</a:t>
                      </a:r>
                      <a:endParaRPr lang="en-US" sz="1100" kern="100" dirty="0" err="1">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err="1">
                          <a:solidFill>
                            <a:srgbClr val="000000"/>
                          </a:solidFill>
                          <a:effectLst/>
                          <a:latin typeface="Franklin Gothic Book"/>
                          <a:ea typeface="Times New Roman" panose="02020603050405020304" pitchFamily="18" charset="0"/>
                          <a:cs typeface="Times New Roman"/>
                        </a:rPr>
                        <a:t>End_time</a:t>
                      </a:r>
                      <a:endParaRPr lang="en-US" sz="1100" kern="100" dirty="0" err="1">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a:solidFill>
                            <a:srgbClr val="000000"/>
                          </a:solidFill>
                          <a:effectLst/>
                          <a:latin typeface="Franklin Gothic Book"/>
                          <a:ea typeface="Times New Roman" panose="02020603050405020304" pitchFamily="18" charset="0"/>
                          <a:cs typeface="Times New Roman"/>
                        </a:rPr>
                        <a:t>Customer</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518042999"/>
                  </a:ext>
                </a:extLst>
              </a:tr>
              <a:tr h="228600">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A</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1 1: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B</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1 3: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Customer A</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186864960"/>
                  </a:ext>
                </a:extLst>
              </a:tr>
              <a:tr h="228600">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B</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7 2: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C</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10 3: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Customer A</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710574170"/>
                  </a:ext>
                </a:extLst>
              </a:tr>
              <a:tr h="228600">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C</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21 3:00P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Yard/Location D</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FEB 22 8:00AM</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dirty="0">
                          <a:solidFill>
                            <a:srgbClr val="000000"/>
                          </a:solidFill>
                          <a:effectLst/>
                          <a:latin typeface="Franklin Gothic Book"/>
                          <a:ea typeface="Times New Roman" panose="02020603050405020304" pitchFamily="18" charset="0"/>
                          <a:cs typeface="Times New Roman"/>
                        </a:rPr>
                        <a:t>Customer B</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266841802"/>
                  </a:ext>
                </a:extLst>
              </a:tr>
            </a:tbl>
          </a:graphicData>
        </a:graphic>
      </p:graphicFrame>
      <p:sp>
        <p:nvSpPr>
          <p:cNvPr id="100" name="Rectangle 99">
            <a:extLst>
              <a:ext uri="{FF2B5EF4-FFF2-40B4-BE49-F238E27FC236}">
                <a16:creationId xmlns:a16="http://schemas.microsoft.com/office/drawing/2014/main" id="{62081406-995D-5EA6-5F35-85B29C5A8BBB}"/>
              </a:ext>
            </a:extLst>
          </p:cNvPr>
          <p:cNvSpPr/>
          <p:nvPr/>
        </p:nvSpPr>
        <p:spPr bwMode="auto">
          <a:xfrm>
            <a:off x="22219954" y="7524765"/>
            <a:ext cx="10885673" cy="8366976"/>
          </a:xfrm>
          <a:prstGeom prst="rect">
            <a:avLst/>
          </a:prstGeom>
          <a:no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79" name="Diamond 78">
            <a:extLst>
              <a:ext uri="{FF2B5EF4-FFF2-40B4-BE49-F238E27FC236}">
                <a16:creationId xmlns:a16="http://schemas.microsoft.com/office/drawing/2014/main" id="{C2F0ECF5-FB8F-5F42-9F59-A78A6D3945A6}"/>
              </a:ext>
            </a:extLst>
          </p:cNvPr>
          <p:cNvSpPr/>
          <p:nvPr/>
        </p:nvSpPr>
        <p:spPr>
          <a:xfrm>
            <a:off x="24095682" y="10481479"/>
            <a:ext cx="2054250" cy="999600"/>
          </a:xfrm>
          <a:prstGeom prst="diamond">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If previous report exist?</a:t>
            </a:r>
          </a:p>
        </p:txBody>
      </p:sp>
      <p:sp>
        <p:nvSpPr>
          <p:cNvPr id="52" name="Rectangle 106">
            <a:extLst>
              <a:ext uri="{FF2B5EF4-FFF2-40B4-BE49-F238E27FC236}">
                <a16:creationId xmlns:a16="http://schemas.microsoft.com/office/drawing/2014/main" id="{8EEC4C13-5D83-4B2A-C1AF-78E482124E2E}"/>
              </a:ext>
            </a:extLst>
          </p:cNvPr>
          <p:cNvSpPr>
            <a:spLocks noChangeArrowheads="1"/>
          </p:cNvSpPr>
          <p:nvPr/>
        </p:nvSpPr>
        <p:spPr bwMode="auto">
          <a:xfrm>
            <a:off x="1000690" y="15128235"/>
            <a:ext cx="7575710" cy="687360"/>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r>
              <a:rPr lang="en-US" sz="1800" spc="10" dirty="0">
                <a:latin typeface="Times New Roman"/>
                <a:cs typeface="Arial"/>
              </a:rPr>
              <a:t>Fig 1. Complexity of Freight Logistics</a:t>
            </a:r>
            <a:endParaRPr lang="en-US" sz="1800" spc="10">
              <a:solidFill>
                <a:srgbClr val="000000"/>
              </a:solidFill>
              <a:latin typeface="Times New Roman"/>
              <a:cs typeface="Arial"/>
            </a:endParaRPr>
          </a:p>
          <a:p>
            <a:pPr algn="just"/>
            <a:endParaRPr lang="en-US" sz="1800" spc="10" dirty="0">
              <a:solidFill>
                <a:srgbClr val="FF0000"/>
              </a:solidFill>
              <a:latin typeface="Times New Roman"/>
              <a:cs typeface="Arial" panose="020B0604020202020204" pitchFamily="34" charset="0"/>
            </a:endParaRPr>
          </a:p>
        </p:txBody>
      </p:sp>
      <p:sp>
        <p:nvSpPr>
          <p:cNvPr id="82" name="TextBox 96">
            <a:extLst>
              <a:ext uri="{FF2B5EF4-FFF2-40B4-BE49-F238E27FC236}">
                <a16:creationId xmlns:a16="http://schemas.microsoft.com/office/drawing/2014/main" id="{7AED0D8C-11EB-0BD7-B0E0-03617FA8F4DE}"/>
              </a:ext>
            </a:extLst>
          </p:cNvPr>
          <p:cNvSpPr txBox="1"/>
          <p:nvPr/>
        </p:nvSpPr>
        <p:spPr>
          <a:xfrm>
            <a:off x="27498856" y="8790029"/>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dirty="0">
              <a:solidFill>
                <a:srgbClr val="000000"/>
              </a:solidFill>
            </a:endParaRPr>
          </a:p>
        </p:txBody>
      </p:sp>
      <p:sp>
        <p:nvSpPr>
          <p:cNvPr id="83" name="TextBox 96">
            <a:extLst>
              <a:ext uri="{FF2B5EF4-FFF2-40B4-BE49-F238E27FC236}">
                <a16:creationId xmlns:a16="http://schemas.microsoft.com/office/drawing/2014/main" id="{291E2FCA-7C17-9003-AC5D-0120F795D69F}"/>
              </a:ext>
            </a:extLst>
          </p:cNvPr>
          <p:cNvSpPr txBox="1"/>
          <p:nvPr/>
        </p:nvSpPr>
        <p:spPr>
          <a:xfrm>
            <a:off x="27550616" y="7470186"/>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dirty="0">
              <a:solidFill>
                <a:srgbClr val="000000"/>
              </a:solidFill>
            </a:endParaRPr>
          </a:p>
        </p:txBody>
      </p:sp>
      <p:cxnSp>
        <p:nvCxnSpPr>
          <p:cNvPr id="84" name="Straight Arrow Connector 83">
            <a:extLst>
              <a:ext uri="{FF2B5EF4-FFF2-40B4-BE49-F238E27FC236}">
                <a16:creationId xmlns:a16="http://schemas.microsoft.com/office/drawing/2014/main" id="{E57120C4-47E8-DE15-CDEB-3C9498046445}"/>
              </a:ext>
            </a:extLst>
          </p:cNvPr>
          <p:cNvCxnSpPr>
            <a:cxnSpLocks/>
          </p:cNvCxnSpPr>
          <p:nvPr/>
        </p:nvCxnSpPr>
        <p:spPr>
          <a:xfrm flipV="1">
            <a:off x="27575708" y="8049528"/>
            <a:ext cx="612752" cy="16914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B4283CBC-6D4F-0230-34BF-98AA25594EF6}"/>
              </a:ext>
            </a:extLst>
          </p:cNvPr>
          <p:cNvCxnSpPr>
            <a:cxnSpLocks/>
          </p:cNvCxnSpPr>
          <p:nvPr/>
        </p:nvCxnSpPr>
        <p:spPr>
          <a:xfrm>
            <a:off x="23982444" y="12256068"/>
            <a:ext cx="996" cy="30782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541FA767-FE93-EA64-8867-B2C5F8AD6569}"/>
              </a:ext>
            </a:extLst>
          </p:cNvPr>
          <p:cNvCxnSpPr>
            <a:cxnSpLocks/>
          </p:cNvCxnSpPr>
          <p:nvPr/>
        </p:nvCxnSpPr>
        <p:spPr>
          <a:xfrm>
            <a:off x="24435546" y="13629408"/>
            <a:ext cx="694167" cy="28877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1B8F2005-15ED-EF1F-E731-59B591DA931F}"/>
              </a:ext>
            </a:extLst>
          </p:cNvPr>
          <p:cNvCxnSpPr>
            <a:cxnSpLocks/>
          </p:cNvCxnSpPr>
          <p:nvPr/>
        </p:nvCxnSpPr>
        <p:spPr>
          <a:xfrm>
            <a:off x="26886277" y="13566976"/>
            <a:ext cx="668287" cy="30171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AA764BC-04FD-0360-B559-95F6FF979942}"/>
              </a:ext>
            </a:extLst>
          </p:cNvPr>
          <p:cNvCxnSpPr>
            <a:cxnSpLocks/>
          </p:cNvCxnSpPr>
          <p:nvPr/>
        </p:nvCxnSpPr>
        <p:spPr>
          <a:xfrm flipH="1">
            <a:off x="25348706" y="13639647"/>
            <a:ext cx="572302" cy="2914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587E658E-AD18-AA8C-07F0-9EEEF79B4E0C}"/>
              </a:ext>
            </a:extLst>
          </p:cNvPr>
          <p:cNvCxnSpPr>
            <a:cxnSpLocks/>
          </p:cNvCxnSpPr>
          <p:nvPr/>
        </p:nvCxnSpPr>
        <p:spPr>
          <a:xfrm flipH="1">
            <a:off x="22851359" y="13458492"/>
            <a:ext cx="572302" cy="2914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B9BE0AB6-7F02-7264-3DFC-5AD230AB5F76}"/>
              </a:ext>
            </a:extLst>
          </p:cNvPr>
          <p:cNvSpPr/>
          <p:nvPr/>
        </p:nvSpPr>
        <p:spPr>
          <a:xfrm>
            <a:off x="28543204" y="7672942"/>
            <a:ext cx="1823373" cy="709171"/>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a:solidFill>
                  <a:srgbClr val="000000"/>
                </a:solidFill>
              </a:rPr>
              <a:t>Exit</a:t>
            </a:r>
            <a:endParaRPr lang="en-US"/>
          </a:p>
        </p:txBody>
      </p:sp>
      <p:sp>
        <p:nvSpPr>
          <p:cNvPr id="95" name="Diamond 94">
            <a:extLst>
              <a:ext uri="{FF2B5EF4-FFF2-40B4-BE49-F238E27FC236}">
                <a16:creationId xmlns:a16="http://schemas.microsoft.com/office/drawing/2014/main" id="{F61DC495-FD95-4496-2A52-6475112782E4}"/>
              </a:ext>
            </a:extLst>
          </p:cNvPr>
          <p:cNvSpPr/>
          <p:nvPr/>
        </p:nvSpPr>
        <p:spPr>
          <a:xfrm>
            <a:off x="29407841" y="10487573"/>
            <a:ext cx="2054250" cy="999600"/>
          </a:xfrm>
          <a:prstGeom prst="diamond">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If damage report has </a:t>
            </a:r>
            <a:r>
              <a:rPr lang="en-US" sz="1200">
                <a:solidFill>
                  <a:srgbClr val="000000"/>
                </a:solidFill>
              </a:rPr>
              <a:t>images?</a:t>
            </a:r>
            <a:endParaRPr lang="en-US" sz="1200">
              <a:solidFill>
                <a:srgbClr val="000000"/>
              </a:solidFill>
              <a:cs typeface="Times"/>
            </a:endParaRPr>
          </a:p>
        </p:txBody>
      </p:sp>
      <p:sp>
        <p:nvSpPr>
          <p:cNvPr id="97" name="Rectangle: Rounded Corners 96">
            <a:extLst>
              <a:ext uri="{FF2B5EF4-FFF2-40B4-BE49-F238E27FC236}">
                <a16:creationId xmlns:a16="http://schemas.microsoft.com/office/drawing/2014/main" id="{9E55A492-F3A5-C73F-234E-3EF9E05E5138}"/>
              </a:ext>
            </a:extLst>
          </p:cNvPr>
          <p:cNvSpPr/>
          <p:nvPr/>
        </p:nvSpPr>
        <p:spPr>
          <a:xfrm>
            <a:off x="30698662" y="11839202"/>
            <a:ext cx="1858273"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a:solidFill>
                  <a:srgbClr val="000000"/>
                </a:solidFill>
                <a:cs typeface="Times"/>
              </a:rPr>
              <a:t>Image Processing</a:t>
            </a:r>
          </a:p>
        </p:txBody>
      </p:sp>
      <p:cxnSp>
        <p:nvCxnSpPr>
          <p:cNvPr id="98" name="Straight Arrow Connector 97">
            <a:extLst>
              <a:ext uri="{FF2B5EF4-FFF2-40B4-BE49-F238E27FC236}">
                <a16:creationId xmlns:a16="http://schemas.microsoft.com/office/drawing/2014/main" id="{84687139-8338-8890-0A7C-BF281FAECBCF}"/>
              </a:ext>
            </a:extLst>
          </p:cNvPr>
          <p:cNvCxnSpPr>
            <a:cxnSpLocks/>
          </p:cNvCxnSpPr>
          <p:nvPr/>
        </p:nvCxnSpPr>
        <p:spPr>
          <a:xfrm flipH="1">
            <a:off x="29406369" y="11464119"/>
            <a:ext cx="714637" cy="31734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9D33DE9D-6226-383D-D2D7-167A3098C3F1}"/>
              </a:ext>
            </a:extLst>
          </p:cNvPr>
          <p:cNvCxnSpPr>
            <a:cxnSpLocks/>
          </p:cNvCxnSpPr>
          <p:nvPr/>
        </p:nvCxnSpPr>
        <p:spPr>
          <a:xfrm>
            <a:off x="30844952" y="11466879"/>
            <a:ext cx="720046" cy="30171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96">
            <a:extLst>
              <a:ext uri="{FF2B5EF4-FFF2-40B4-BE49-F238E27FC236}">
                <a16:creationId xmlns:a16="http://schemas.microsoft.com/office/drawing/2014/main" id="{87CBA8BC-A722-12D2-D73B-A76A5DC56B8C}"/>
              </a:ext>
            </a:extLst>
          </p:cNvPr>
          <p:cNvSpPr txBox="1"/>
          <p:nvPr/>
        </p:nvSpPr>
        <p:spPr>
          <a:xfrm>
            <a:off x="29550877" y="11361132"/>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No</a:t>
            </a:r>
            <a:endParaRPr lang="en-US" sz="1200" dirty="0">
              <a:solidFill>
                <a:srgbClr val="000000"/>
              </a:solidFill>
              <a:cs typeface="Times"/>
            </a:endParaRPr>
          </a:p>
        </p:txBody>
      </p:sp>
      <p:sp>
        <p:nvSpPr>
          <p:cNvPr id="102" name="TextBox 101">
            <a:extLst>
              <a:ext uri="{FF2B5EF4-FFF2-40B4-BE49-F238E27FC236}">
                <a16:creationId xmlns:a16="http://schemas.microsoft.com/office/drawing/2014/main" id="{6747F563-CC30-1FD6-35F9-1FB24DF40920}"/>
              </a:ext>
            </a:extLst>
          </p:cNvPr>
          <p:cNvSpPr txBox="1"/>
          <p:nvPr/>
        </p:nvSpPr>
        <p:spPr>
          <a:xfrm>
            <a:off x="31199420" y="11330399"/>
            <a:ext cx="508903"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000000"/>
                </a:solidFill>
              </a:rPr>
              <a:t>Yes</a:t>
            </a:r>
            <a:endParaRPr lang="en-US" dirty="0">
              <a:solidFill>
                <a:srgbClr val="000000"/>
              </a:solidFill>
            </a:endParaRPr>
          </a:p>
        </p:txBody>
      </p:sp>
      <p:sp>
        <p:nvSpPr>
          <p:cNvPr id="23" name="Rectangle: Rounded Corners 22">
            <a:extLst>
              <a:ext uri="{FF2B5EF4-FFF2-40B4-BE49-F238E27FC236}">
                <a16:creationId xmlns:a16="http://schemas.microsoft.com/office/drawing/2014/main" id="{E665D016-5F0B-4BBA-2B17-E7F1A7822206}"/>
              </a:ext>
            </a:extLst>
          </p:cNvPr>
          <p:cNvSpPr/>
          <p:nvPr/>
        </p:nvSpPr>
        <p:spPr>
          <a:xfrm>
            <a:off x="28311301" y="11847613"/>
            <a:ext cx="1858273"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a:solidFill>
                  <a:srgbClr val="000000"/>
                </a:solidFill>
                <a:cs typeface="Times"/>
              </a:rPr>
              <a:t>Exit</a:t>
            </a:r>
            <a:endParaRPr lang="en-US"/>
          </a:p>
        </p:txBody>
      </p:sp>
      <p:sp>
        <p:nvSpPr>
          <p:cNvPr id="27" name="Isosceles Triangle 26">
            <a:extLst>
              <a:ext uri="{FF2B5EF4-FFF2-40B4-BE49-F238E27FC236}">
                <a16:creationId xmlns:a16="http://schemas.microsoft.com/office/drawing/2014/main" id="{B5DBB932-36CC-D676-C85C-33A719023472}"/>
              </a:ext>
            </a:extLst>
          </p:cNvPr>
          <p:cNvSpPr/>
          <p:nvPr/>
        </p:nvSpPr>
        <p:spPr>
          <a:xfrm>
            <a:off x="30007643" y="14734217"/>
            <a:ext cx="2756387" cy="144512"/>
          </a:xfrm>
          <a:prstGeom prst="triangle">
            <a:avLst/>
          </a:prstGeom>
          <a:solidFill>
            <a:schemeClr val="bg2">
              <a:lumMod val="20000"/>
              <a:lumOff val="80000"/>
            </a:schemeClr>
          </a:solidFill>
          <a:ln>
            <a:noFill/>
          </a:ln>
          <a:effectLst>
            <a:outerShdw blurRad="63500" dist="38100" dir="2700000">
              <a:srgbClr val="000000">
                <a:alpha val="40000"/>
              </a:srgbClr>
            </a:outerShdw>
            <a:reflection stA="40000" endPos="54000" dist="50800" dir="5400000" sy="-100000" algn="bl" rotWithShape="0"/>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3" name="Rectangle: Rounded Corners 32">
            <a:extLst>
              <a:ext uri="{FF2B5EF4-FFF2-40B4-BE49-F238E27FC236}">
                <a16:creationId xmlns:a16="http://schemas.microsoft.com/office/drawing/2014/main" id="{40FF7FE5-73F7-3C69-89FF-35F7276803F3}"/>
              </a:ext>
            </a:extLst>
          </p:cNvPr>
          <p:cNvSpPr/>
          <p:nvPr/>
        </p:nvSpPr>
        <p:spPr>
          <a:xfrm>
            <a:off x="30698661" y="12926129"/>
            <a:ext cx="1858273" cy="648534"/>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cs typeface="Times"/>
              </a:rPr>
              <a:t>Image Analysis</a:t>
            </a:r>
          </a:p>
          <a:p>
            <a:pPr algn="ctr"/>
            <a:r>
              <a:rPr lang="en-US" sz="1200" dirty="0">
                <a:solidFill>
                  <a:srgbClr val="000000"/>
                </a:solidFill>
                <a:cs typeface="Times"/>
              </a:rPr>
              <a:t>(MobileNetV2)</a:t>
            </a:r>
          </a:p>
        </p:txBody>
      </p:sp>
      <p:cxnSp>
        <p:nvCxnSpPr>
          <p:cNvPr id="39" name="Straight Arrow Connector 38">
            <a:extLst>
              <a:ext uri="{FF2B5EF4-FFF2-40B4-BE49-F238E27FC236}">
                <a16:creationId xmlns:a16="http://schemas.microsoft.com/office/drawing/2014/main" id="{19A3E57F-DBD2-D119-F06F-2A80BE09D5AA}"/>
              </a:ext>
            </a:extLst>
          </p:cNvPr>
          <p:cNvCxnSpPr>
            <a:cxnSpLocks/>
          </p:cNvCxnSpPr>
          <p:nvPr/>
        </p:nvCxnSpPr>
        <p:spPr>
          <a:xfrm>
            <a:off x="31633440" y="12555892"/>
            <a:ext cx="996" cy="30782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E37D577-5CD7-4A5A-323B-6B5FBEDA41A6}"/>
              </a:ext>
            </a:extLst>
          </p:cNvPr>
          <p:cNvCxnSpPr/>
          <p:nvPr/>
        </p:nvCxnSpPr>
        <p:spPr bwMode="auto">
          <a:xfrm flipV="1">
            <a:off x="22204795" y="9487310"/>
            <a:ext cx="10890848" cy="17252"/>
          </a:xfrm>
          <a:prstGeom prst="straightConnector1">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2" name="Group 91">
            <a:extLst>
              <a:ext uri="{FF2B5EF4-FFF2-40B4-BE49-F238E27FC236}">
                <a16:creationId xmlns:a16="http://schemas.microsoft.com/office/drawing/2014/main" id="{8E2C802D-9017-2B1C-065A-FBF42B648649}"/>
              </a:ext>
            </a:extLst>
          </p:cNvPr>
          <p:cNvGrpSpPr/>
          <p:nvPr/>
        </p:nvGrpSpPr>
        <p:grpSpPr>
          <a:xfrm>
            <a:off x="34761911" y="5523022"/>
            <a:ext cx="5773205" cy="3143000"/>
            <a:chOff x="33180068" y="4882733"/>
            <a:chExt cx="10407759" cy="5571245"/>
          </a:xfrm>
        </p:grpSpPr>
        <p:pic>
          <p:nvPicPr>
            <p:cNvPr id="15" name="Picture 14" descr="A pie chart with a blue and red triangle&#10;&#10;AI-generated content may be incorrect.">
              <a:extLst>
                <a:ext uri="{FF2B5EF4-FFF2-40B4-BE49-F238E27FC236}">
                  <a16:creationId xmlns:a16="http://schemas.microsoft.com/office/drawing/2014/main" id="{BA36C4F6-62F7-CD42-5CFA-2414BE3CD29F}"/>
                </a:ext>
              </a:extLst>
            </p:cNvPr>
            <p:cNvPicPr>
              <a:picLocks noChangeAspect="1"/>
            </p:cNvPicPr>
            <p:nvPr/>
          </p:nvPicPr>
          <p:blipFill>
            <a:blip r:embed="rId14"/>
            <a:stretch>
              <a:fillRect/>
            </a:stretch>
          </p:blipFill>
          <p:spPr>
            <a:xfrm>
              <a:off x="33180068" y="6002906"/>
              <a:ext cx="5972354" cy="3909924"/>
            </a:xfrm>
            <a:prstGeom prst="rect">
              <a:avLst/>
            </a:prstGeom>
          </p:spPr>
        </p:pic>
        <p:sp>
          <p:nvSpPr>
            <p:cNvPr id="25" name="Isosceles Triangle 24">
              <a:extLst>
                <a:ext uri="{FF2B5EF4-FFF2-40B4-BE49-F238E27FC236}">
                  <a16:creationId xmlns:a16="http://schemas.microsoft.com/office/drawing/2014/main" id="{FC39D6D1-3498-BBA0-CCE7-2FC9D51F910F}"/>
                </a:ext>
              </a:extLst>
            </p:cNvPr>
            <p:cNvSpPr/>
            <p:nvPr/>
          </p:nvSpPr>
          <p:spPr bwMode="auto">
            <a:xfrm rot="16200000">
              <a:off x="36657968" y="6820503"/>
              <a:ext cx="2687279" cy="1755162"/>
            </a:xfrm>
            <a:prstGeom prst="triangl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11" name="Picture 10" descr="A pie chart with a blue and red triangle&#10;&#10;AI-generated content may be incorrect.">
              <a:extLst>
                <a:ext uri="{FF2B5EF4-FFF2-40B4-BE49-F238E27FC236}">
                  <a16:creationId xmlns:a16="http://schemas.microsoft.com/office/drawing/2014/main" id="{E53BAB70-3E70-BC6F-E734-F90FBAFBC948}"/>
                </a:ext>
              </a:extLst>
            </p:cNvPr>
            <p:cNvPicPr>
              <a:picLocks noChangeAspect="1"/>
            </p:cNvPicPr>
            <p:nvPr/>
          </p:nvPicPr>
          <p:blipFill>
            <a:blip r:embed="rId15"/>
            <a:srcRect l="-2170" t="-551" r="1989" b="826"/>
            <a:stretch/>
          </p:blipFill>
          <p:spPr>
            <a:xfrm rot="4320000">
              <a:off x="33307293" y="5855714"/>
              <a:ext cx="5571245" cy="3625284"/>
            </a:xfrm>
            <a:prstGeom prst="rect">
              <a:avLst/>
            </a:prstGeom>
          </p:spPr>
        </p:pic>
        <p:pic>
          <p:nvPicPr>
            <p:cNvPr id="142" name="Picture 141" descr="A pie chart with a number of pies&#10;&#10;AI-generated content may be incorrect.">
              <a:extLst>
                <a:ext uri="{FF2B5EF4-FFF2-40B4-BE49-F238E27FC236}">
                  <a16:creationId xmlns:a16="http://schemas.microsoft.com/office/drawing/2014/main" id="{DABE15AA-65F6-C2FF-5359-00773F310C94}"/>
                </a:ext>
              </a:extLst>
            </p:cNvPr>
            <p:cNvPicPr>
              <a:picLocks noChangeAspect="1"/>
            </p:cNvPicPr>
            <p:nvPr/>
          </p:nvPicPr>
          <p:blipFill>
            <a:blip r:embed="rId16"/>
            <a:stretch>
              <a:fillRect/>
            </a:stretch>
          </p:blipFill>
          <p:spPr>
            <a:xfrm>
              <a:off x="36425027" y="5716874"/>
              <a:ext cx="7162800" cy="4438650"/>
            </a:xfrm>
            <a:prstGeom prst="rect">
              <a:avLst/>
            </a:prstGeom>
          </p:spPr>
        </p:pic>
      </p:grpSp>
      <p:sp>
        <p:nvSpPr>
          <p:cNvPr id="60" name="Rectangle 59">
            <a:extLst>
              <a:ext uri="{FF2B5EF4-FFF2-40B4-BE49-F238E27FC236}">
                <a16:creationId xmlns:a16="http://schemas.microsoft.com/office/drawing/2014/main" id="{61CC4148-BB21-3F7A-C597-9DC07E32875D}"/>
              </a:ext>
            </a:extLst>
          </p:cNvPr>
          <p:cNvSpPr/>
          <p:nvPr/>
        </p:nvSpPr>
        <p:spPr>
          <a:xfrm>
            <a:off x="22389093" y="16424781"/>
            <a:ext cx="3480990"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New Roman"/>
                <a:cs typeface="Arial"/>
              </a:rPr>
              <a:t>ASSUMPTIONS</a:t>
            </a:r>
            <a:endParaRPr lang="en-US" sz="2800" b="1" dirty="0">
              <a:solidFill>
                <a:schemeClr val="bg2">
                  <a:lumMod val="49000"/>
                </a:schemeClr>
              </a:solidFill>
              <a:latin typeface="Times New Roman"/>
              <a:cs typeface="Arial" panose="020B0604020202020204" pitchFamily="34" charset="0"/>
            </a:endParaRPr>
          </a:p>
        </p:txBody>
      </p:sp>
      <p:sp>
        <p:nvSpPr>
          <p:cNvPr id="66" name="Rectangle 65">
            <a:extLst>
              <a:ext uri="{FF2B5EF4-FFF2-40B4-BE49-F238E27FC236}">
                <a16:creationId xmlns:a16="http://schemas.microsoft.com/office/drawing/2014/main" id="{40E89E01-E3E4-9733-0C89-9A0C3565116C}"/>
              </a:ext>
            </a:extLst>
          </p:cNvPr>
          <p:cNvSpPr/>
          <p:nvPr/>
        </p:nvSpPr>
        <p:spPr>
          <a:xfrm>
            <a:off x="22389093" y="18186506"/>
            <a:ext cx="3480990" cy="523220"/>
          </a:xfrm>
          <a:prstGeom prst="rect">
            <a:avLst/>
          </a:prstGeom>
        </p:spPr>
        <p:txBody>
          <a:bodyPr wrap="square" lIns="91440" tIns="45720" rIns="91440" bIns="45720" anchor="t">
            <a:spAutoFit/>
          </a:bodyPr>
          <a:lstStyle/>
          <a:p>
            <a:r>
              <a:rPr lang="en-US" sz="2800" b="1" dirty="0">
                <a:solidFill>
                  <a:schemeClr val="bg2">
                    <a:lumMod val="49000"/>
                  </a:schemeClr>
                </a:solidFill>
                <a:latin typeface="Times New Roman"/>
                <a:cs typeface="Arial"/>
              </a:rPr>
              <a:t>LIMITATIONS</a:t>
            </a:r>
            <a:endParaRPr lang="en-US" sz="2800" b="1" dirty="0">
              <a:solidFill>
                <a:schemeClr val="bg2">
                  <a:lumMod val="49000"/>
                </a:schemeClr>
              </a:solidFill>
              <a:latin typeface="Times New Roman"/>
              <a:cs typeface="Arial" panose="020B0604020202020204" pitchFamily="34" charset="0"/>
            </a:endParaRPr>
          </a:p>
        </p:txBody>
      </p:sp>
      <p:sp>
        <p:nvSpPr>
          <p:cNvPr id="69" name="TextBox 68" descr="A black and white text&#10;&#10;AI-generated content may be incorrect.">
            <a:extLst>
              <a:ext uri="{FF2B5EF4-FFF2-40B4-BE49-F238E27FC236}">
                <a16:creationId xmlns:a16="http://schemas.microsoft.com/office/drawing/2014/main" id="{776AF60B-BFA5-9759-BCD1-2B2694CCF0E5}"/>
              </a:ext>
            </a:extLst>
          </p:cNvPr>
          <p:cNvSpPr txBox="1"/>
          <p:nvPr/>
        </p:nvSpPr>
        <p:spPr>
          <a:xfrm>
            <a:off x="22389093" y="16923924"/>
            <a:ext cx="10757919" cy="1015663"/>
          </a:xfrm>
          <a:prstGeom prst="rect">
            <a:avLst/>
          </a:prstGeom>
          <a:noFill/>
        </p:spPr>
        <p:txBody>
          <a:bodyPr wrap="square" lIns="91440" tIns="45720" rIns="91440" bIns="45720" rtlCol="0" anchor="t">
            <a:spAutoFit/>
          </a:bodyPr>
          <a:lstStyle/>
          <a:p>
            <a:pPr marL="285750" indent="-285750" algn="just">
              <a:buFont typeface="Arial"/>
              <a:buChar char="•"/>
            </a:pPr>
            <a:r>
              <a:rPr lang="en-US" sz="2000" b="1" spc="10" dirty="0">
                <a:latin typeface="Times New Roman"/>
                <a:cs typeface="Arial"/>
              </a:rPr>
              <a:t>Data Integrity</a:t>
            </a:r>
            <a:r>
              <a:rPr lang="en-US" sz="2000" spc="10" dirty="0">
                <a:latin typeface="Times New Roman"/>
                <a:cs typeface="Arial"/>
              </a:rPr>
              <a:t>: Assumes accuracy and completeness of all input data, including toll reports, subscription information, inspection reports, and telematics data.</a:t>
            </a:r>
            <a:endParaRPr lang="en-US" sz="2000" b="1" spc="10">
              <a:solidFill>
                <a:srgbClr val="918752"/>
              </a:solidFill>
              <a:latin typeface="Times New Roman"/>
              <a:cs typeface="Arial"/>
            </a:endParaRPr>
          </a:p>
          <a:p>
            <a:pPr marL="285750" indent="-285750" algn="just">
              <a:buFont typeface="Arial"/>
              <a:buChar char="•"/>
            </a:pPr>
            <a:r>
              <a:rPr lang="en-US" sz="2000" b="1" spc="10" dirty="0">
                <a:latin typeface="Times New Roman"/>
                <a:cs typeface="Arial"/>
              </a:rPr>
              <a:t>System Functionality</a:t>
            </a:r>
            <a:r>
              <a:rPr lang="en-US" sz="2000" spc="10" dirty="0">
                <a:latin typeface="Times New Roman"/>
                <a:cs typeface="Arial"/>
              </a:rPr>
              <a:t>: Assumes proper functioning of automated logic and database systems.</a:t>
            </a:r>
            <a:endParaRPr lang="en-US" sz="2000">
              <a:latin typeface="Times New Roman"/>
              <a:cs typeface="Arial"/>
            </a:endParaRPr>
          </a:p>
        </p:txBody>
      </p:sp>
      <p:pic>
        <p:nvPicPr>
          <p:cNvPr id="78" name="Picture 77">
            <a:extLst>
              <a:ext uri="{FF2B5EF4-FFF2-40B4-BE49-F238E27FC236}">
                <a16:creationId xmlns:a16="http://schemas.microsoft.com/office/drawing/2014/main" id="{62B959F5-455A-655F-F161-6252FB0D6268}"/>
              </a:ext>
            </a:extLst>
          </p:cNvPr>
          <p:cNvPicPr>
            <a:picLocks noChangeAspect="1"/>
          </p:cNvPicPr>
          <p:nvPr/>
        </p:nvPicPr>
        <p:blipFill>
          <a:blip r:embed="rId17"/>
          <a:stretch>
            <a:fillRect/>
          </a:stretch>
        </p:blipFill>
        <p:spPr>
          <a:xfrm>
            <a:off x="39770858" y="997643"/>
            <a:ext cx="3390900" cy="942975"/>
          </a:xfrm>
          <a:prstGeom prst="rect">
            <a:avLst/>
          </a:prstGeom>
        </p:spPr>
      </p:pic>
      <p:pic>
        <p:nvPicPr>
          <p:cNvPr id="70" name="Picture 69" descr="A black and white logo&#10;&#10;AI-generated content may be incorrect.">
            <a:extLst>
              <a:ext uri="{FF2B5EF4-FFF2-40B4-BE49-F238E27FC236}">
                <a16:creationId xmlns:a16="http://schemas.microsoft.com/office/drawing/2014/main" id="{2909927E-C2ED-33CC-1DB6-D12A94C21117}"/>
              </a:ext>
            </a:extLst>
          </p:cNvPr>
          <p:cNvPicPr>
            <a:picLocks noChangeAspect="1"/>
          </p:cNvPicPr>
          <p:nvPr/>
        </p:nvPicPr>
        <p:blipFill>
          <a:blip r:embed="rId18"/>
          <a:stretch>
            <a:fillRect/>
          </a:stretch>
        </p:blipFill>
        <p:spPr>
          <a:xfrm>
            <a:off x="34302172" y="199723"/>
            <a:ext cx="5505409" cy="2565332"/>
          </a:xfrm>
          <a:prstGeom prst="rect">
            <a:avLst/>
          </a:prstGeom>
        </p:spPr>
      </p:pic>
      <p:sp>
        <p:nvSpPr>
          <p:cNvPr id="80" name="TextBox 79" descr="A black and white text&#10;&#10;AI-generated content may be incorrect.">
            <a:extLst>
              <a:ext uri="{FF2B5EF4-FFF2-40B4-BE49-F238E27FC236}">
                <a16:creationId xmlns:a16="http://schemas.microsoft.com/office/drawing/2014/main" id="{3848FF21-25C9-A6EE-D357-B1A2FA8D400F}"/>
              </a:ext>
            </a:extLst>
          </p:cNvPr>
          <p:cNvSpPr txBox="1"/>
          <p:nvPr/>
        </p:nvSpPr>
        <p:spPr>
          <a:xfrm>
            <a:off x="22389093" y="18672709"/>
            <a:ext cx="10789632" cy="1631216"/>
          </a:xfrm>
          <a:prstGeom prst="rect">
            <a:avLst/>
          </a:prstGeom>
          <a:noFill/>
        </p:spPr>
        <p:txBody>
          <a:bodyPr wrap="square" lIns="91440" tIns="45720" rIns="91440" bIns="45720" rtlCol="0" anchor="t">
            <a:spAutoFit/>
          </a:bodyPr>
          <a:lstStyle/>
          <a:p>
            <a:pPr marL="285750" indent="-285750" algn="just">
              <a:buFont typeface="Arial"/>
              <a:buChar char="•"/>
            </a:pPr>
            <a:r>
              <a:rPr lang="en-US" sz="2000" b="1" spc="10" dirty="0">
                <a:latin typeface="Times New Roman"/>
                <a:cs typeface="Arial"/>
              </a:rPr>
              <a:t>Data Latency</a:t>
            </a:r>
            <a:r>
              <a:rPr lang="en-US" sz="2000" spc="10" dirty="0">
                <a:latin typeface="Times New Roman"/>
                <a:cs typeface="Arial"/>
              </a:rPr>
              <a:t>: Delays in data acquisition (toll data, telematics) can impact the timeliness and accuracy of results.</a:t>
            </a:r>
            <a:endParaRPr lang="en-US" sz="2000">
              <a:latin typeface="Times New Roman"/>
              <a:cs typeface="Times New Roman"/>
            </a:endParaRPr>
          </a:p>
          <a:p>
            <a:pPr marL="285750" indent="-285750" algn="just">
              <a:buFont typeface="Arial"/>
              <a:buChar char="•"/>
            </a:pPr>
            <a:r>
              <a:rPr lang="en-US" sz="2000" b="1" spc="10" dirty="0">
                <a:latin typeface="Times New Roman"/>
                <a:cs typeface="Arial"/>
              </a:rPr>
              <a:t>Manual Intervention</a:t>
            </a:r>
            <a:r>
              <a:rPr lang="en-US" sz="2000" spc="10" dirty="0">
                <a:latin typeface="Times New Roman"/>
                <a:cs typeface="Arial"/>
              </a:rPr>
              <a:t>: Some cases require manual review, limiting full automation.</a:t>
            </a:r>
            <a:endParaRPr lang="en-US" sz="2000" spc="10">
              <a:solidFill>
                <a:srgbClr val="000000"/>
              </a:solidFill>
              <a:latin typeface="Times New Roman"/>
              <a:cs typeface="Arial"/>
            </a:endParaRPr>
          </a:p>
          <a:p>
            <a:pPr marL="285750" indent="-285750" algn="just">
              <a:buFont typeface="Arial"/>
              <a:buChar char="•"/>
            </a:pPr>
            <a:r>
              <a:rPr lang="en-US" sz="2000" b="1" spc="10" dirty="0">
                <a:latin typeface="Times New Roman"/>
                <a:cs typeface="Arial"/>
              </a:rPr>
              <a:t>Scope Limitations</a:t>
            </a:r>
            <a:r>
              <a:rPr lang="en-US" sz="2000" spc="10" dirty="0">
                <a:latin typeface="Times New Roman"/>
                <a:cs typeface="Arial"/>
              </a:rPr>
              <a:t>: Methodologies address specific aspects (toll assignment, damage assessment) but may not cover all related processes (e.g., dispute resolution, fraud detection).</a:t>
            </a:r>
          </a:p>
        </p:txBody>
      </p:sp>
      <p:sp>
        <p:nvSpPr>
          <p:cNvPr id="163" name="Arrow: Bent 162">
            <a:extLst>
              <a:ext uri="{FF2B5EF4-FFF2-40B4-BE49-F238E27FC236}">
                <a16:creationId xmlns:a16="http://schemas.microsoft.com/office/drawing/2014/main" id="{89E3A2E5-64DA-8C84-6BF6-57AA66EA5FFD}"/>
              </a:ext>
            </a:extLst>
          </p:cNvPr>
          <p:cNvSpPr/>
          <p:nvPr/>
        </p:nvSpPr>
        <p:spPr bwMode="auto">
          <a:xfrm rot="5400000">
            <a:off x="30559921" y="8300724"/>
            <a:ext cx="917332" cy="972199"/>
          </a:xfrm>
          <a:prstGeom prst="bentArrow">
            <a:avLst/>
          </a:prstGeom>
          <a:solidFill>
            <a:schemeClr val="bg2">
              <a:lumMod val="75000"/>
            </a:schemeClr>
          </a:solidFill>
          <a:ln w="9525"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64" name="Rectangle: Rounded Corners 163">
            <a:extLst>
              <a:ext uri="{FF2B5EF4-FFF2-40B4-BE49-F238E27FC236}">
                <a16:creationId xmlns:a16="http://schemas.microsoft.com/office/drawing/2014/main" id="{D5027268-7BA0-2914-80E5-EFA12C070FAA}"/>
              </a:ext>
            </a:extLst>
          </p:cNvPr>
          <p:cNvSpPr/>
          <p:nvPr/>
        </p:nvSpPr>
        <p:spPr>
          <a:xfrm>
            <a:off x="22364615" y="9721853"/>
            <a:ext cx="5271277" cy="616544"/>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dirty="0">
                <a:solidFill>
                  <a:srgbClr val="000000"/>
                </a:solidFill>
                <a:cs typeface="Times"/>
              </a:rPr>
              <a:t>Automatic Attribution</a:t>
            </a:r>
            <a:endParaRPr lang="en-US"/>
          </a:p>
        </p:txBody>
      </p:sp>
      <p:pic>
        <p:nvPicPr>
          <p:cNvPr id="14" name="Picture 13" descr="A map of the united states&#10;&#10;AI-generated content may be incorrect.">
            <a:extLst>
              <a:ext uri="{FF2B5EF4-FFF2-40B4-BE49-F238E27FC236}">
                <a16:creationId xmlns:a16="http://schemas.microsoft.com/office/drawing/2014/main" id="{1548A0EE-44D8-5FCD-226A-27421ECD7486}"/>
              </a:ext>
            </a:extLst>
          </p:cNvPr>
          <p:cNvPicPr>
            <a:picLocks noChangeAspect="1"/>
          </p:cNvPicPr>
          <p:nvPr/>
        </p:nvPicPr>
        <p:blipFill>
          <a:blip r:embed="rId19"/>
          <a:stretch>
            <a:fillRect/>
          </a:stretch>
        </p:blipFill>
        <p:spPr>
          <a:xfrm>
            <a:off x="10991262" y="5862107"/>
            <a:ext cx="9440893" cy="5012308"/>
          </a:xfrm>
          <a:prstGeom prst="rect">
            <a:avLst/>
          </a:prstGeom>
        </p:spPr>
      </p:pic>
      <p:sp>
        <p:nvSpPr>
          <p:cNvPr id="81" name="Rectangle 80">
            <a:extLst>
              <a:ext uri="{FF2B5EF4-FFF2-40B4-BE49-F238E27FC236}">
                <a16:creationId xmlns:a16="http://schemas.microsoft.com/office/drawing/2014/main" id="{736A3F39-55EC-EE46-2D7A-20EBB6F3C7C8}"/>
              </a:ext>
            </a:extLst>
          </p:cNvPr>
          <p:cNvSpPr/>
          <p:nvPr/>
        </p:nvSpPr>
        <p:spPr>
          <a:xfrm>
            <a:off x="11982952" y="10969762"/>
            <a:ext cx="7447128" cy="369332"/>
          </a:xfrm>
          <a:prstGeom prst="rect">
            <a:avLst/>
          </a:prstGeom>
        </p:spPr>
        <p:txBody>
          <a:bodyPr wrap="square" lIns="91440" tIns="45720" rIns="91440" bIns="45720" anchor="t">
            <a:spAutoFit/>
          </a:bodyPr>
          <a:lstStyle/>
          <a:p>
            <a:pPr algn="ctr"/>
            <a:r>
              <a:rPr lang="en-US" sz="1800" dirty="0">
                <a:solidFill>
                  <a:schemeClr val="tx1">
                    <a:lumMod val="95000"/>
                    <a:lumOff val="5000"/>
                  </a:schemeClr>
                </a:solidFill>
                <a:latin typeface="Times New Roman"/>
                <a:cs typeface="Times"/>
              </a:rPr>
              <a:t>Fig 3. Linking trip information by mapping telematics data</a:t>
            </a:r>
            <a:endParaRPr lang="en-US" sz="1800">
              <a:solidFill>
                <a:schemeClr val="tx1">
                  <a:lumMod val="95000"/>
                  <a:lumOff val="5000"/>
                </a:schemeClr>
              </a:solidFill>
              <a:latin typeface="Times New Roman"/>
              <a:cs typeface="Times"/>
            </a:endParaRPr>
          </a:p>
        </p:txBody>
      </p:sp>
      <p:sp>
        <p:nvSpPr>
          <p:cNvPr id="35" name="TextBox 34">
            <a:extLst>
              <a:ext uri="{FF2B5EF4-FFF2-40B4-BE49-F238E27FC236}">
                <a16:creationId xmlns:a16="http://schemas.microsoft.com/office/drawing/2014/main" id="{91B69CFA-4206-66AF-2A07-747605122BB8}"/>
              </a:ext>
            </a:extLst>
          </p:cNvPr>
          <p:cNvSpPr txBox="1"/>
          <p:nvPr/>
        </p:nvSpPr>
        <p:spPr>
          <a:xfrm>
            <a:off x="33611699" y="3933685"/>
            <a:ext cx="9424598"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000" dirty="0">
                <a:latin typeface="Times New Roman"/>
                <a:cs typeface="Times New Roman"/>
              </a:rPr>
              <a:t>Tolls, damages and maintenance together contribute to about 10% of the total costs of a trip. The hours spent on manually reviewing the reports and matching the drivers can be saved. The solution can increase the accuracy of attribution to drivers. </a:t>
            </a:r>
            <a:endParaRPr lang="en-US" sz="2000">
              <a:latin typeface="Times New Roman"/>
              <a:cs typeface="Times New Roman"/>
            </a:endParaRPr>
          </a:p>
          <a:p>
            <a:pPr algn="just"/>
            <a:r>
              <a:rPr lang="en-US" sz="2000" dirty="0">
                <a:latin typeface="Times New Roman"/>
                <a:cs typeface="Times"/>
              </a:rPr>
              <a:t>We arrived at this estimate based on the following assumptions: there are ~1000 trailers in operation, each trailer completes an average of four trips per week, it takes two minutes to review a report, the cost of labor is $15 per hour, and each trip incurs one toll charge.</a:t>
            </a:r>
          </a:p>
        </p:txBody>
      </p:sp>
      <p:sp>
        <p:nvSpPr>
          <p:cNvPr id="165" name="Rectangle: Rounded Corners 164">
            <a:extLst>
              <a:ext uri="{FF2B5EF4-FFF2-40B4-BE49-F238E27FC236}">
                <a16:creationId xmlns:a16="http://schemas.microsoft.com/office/drawing/2014/main" id="{31E6C983-B6FD-0DE9-A969-DE3BED07D95B}"/>
              </a:ext>
            </a:extLst>
          </p:cNvPr>
          <p:cNvSpPr/>
          <p:nvPr/>
        </p:nvSpPr>
        <p:spPr>
          <a:xfrm>
            <a:off x="27743441" y="9737272"/>
            <a:ext cx="5271277" cy="616544"/>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dirty="0">
                <a:solidFill>
                  <a:srgbClr val="000000"/>
                </a:solidFill>
                <a:cs typeface="Times"/>
              </a:rPr>
              <a:t>Damage Analysis</a:t>
            </a:r>
            <a:endParaRPr lang="en-US">
              <a:cs typeface="Times"/>
            </a:endParaRPr>
          </a:p>
        </p:txBody>
      </p:sp>
      <p:sp>
        <p:nvSpPr>
          <p:cNvPr id="87" name="TextBox 86">
            <a:extLst>
              <a:ext uri="{FF2B5EF4-FFF2-40B4-BE49-F238E27FC236}">
                <a16:creationId xmlns:a16="http://schemas.microsoft.com/office/drawing/2014/main" id="{8CCB822F-761C-CC27-87F8-029A1489A5EA}"/>
              </a:ext>
            </a:extLst>
          </p:cNvPr>
          <p:cNvSpPr txBox="1"/>
          <p:nvPr/>
        </p:nvSpPr>
        <p:spPr>
          <a:xfrm>
            <a:off x="39721868" y="6362393"/>
            <a:ext cx="2913073"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608965" lvl="2"/>
            <a:r>
              <a:rPr lang="en-US" sz="1800" dirty="0">
                <a:latin typeface="Times New Roman"/>
                <a:cs typeface="Segoe UI"/>
              </a:rPr>
              <a:t>​Fig 6. 20% of the damages, maintenance and tolls remain unattributed, leading to host company eating the cost</a:t>
            </a:r>
            <a:endParaRPr lang="en-US" sz="1800">
              <a:latin typeface="Times New Roman"/>
              <a:cs typeface="Times New Roman"/>
            </a:endParaRPr>
          </a:p>
        </p:txBody>
      </p:sp>
      <p:sp>
        <p:nvSpPr>
          <p:cNvPr id="167" name="Rectangle: Rounded Corners 166">
            <a:extLst>
              <a:ext uri="{FF2B5EF4-FFF2-40B4-BE49-F238E27FC236}">
                <a16:creationId xmlns:a16="http://schemas.microsoft.com/office/drawing/2014/main" id="{23FF0565-68F2-DB31-A2FA-C5157DD6C805}"/>
              </a:ext>
            </a:extLst>
          </p:cNvPr>
          <p:cNvSpPr/>
          <p:nvPr/>
        </p:nvSpPr>
        <p:spPr>
          <a:xfrm>
            <a:off x="30698661" y="14045505"/>
            <a:ext cx="1858273" cy="506198"/>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200" dirty="0">
                <a:solidFill>
                  <a:srgbClr val="000000"/>
                </a:solidFill>
                <a:cs typeface="Times"/>
              </a:rPr>
              <a:t>Report</a:t>
            </a:r>
          </a:p>
        </p:txBody>
      </p:sp>
      <p:cxnSp>
        <p:nvCxnSpPr>
          <p:cNvPr id="168" name="Straight Arrow Connector 167">
            <a:extLst>
              <a:ext uri="{FF2B5EF4-FFF2-40B4-BE49-F238E27FC236}">
                <a16:creationId xmlns:a16="http://schemas.microsoft.com/office/drawing/2014/main" id="{65D5AF2F-4977-F93B-53E2-1AAA76B48AA7}"/>
              </a:ext>
            </a:extLst>
          </p:cNvPr>
          <p:cNvCxnSpPr>
            <a:cxnSpLocks/>
          </p:cNvCxnSpPr>
          <p:nvPr/>
        </p:nvCxnSpPr>
        <p:spPr>
          <a:xfrm>
            <a:off x="31665888" y="13655760"/>
            <a:ext cx="996" cy="30782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69" name="Table 168">
            <a:extLst>
              <a:ext uri="{FF2B5EF4-FFF2-40B4-BE49-F238E27FC236}">
                <a16:creationId xmlns:a16="http://schemas.microsoft.com/office/drawing/2014/main" id="{B168E9E6-D886-54D2-1CE9-C59A966370A2}"/>
              </a:ext>
            </a:extLst>
          </p:cNvPr>
          <p:cNvGraphicFramePr>
            <a:graphicFrameLocks noGrp="1"/>
          </p:cNvGraphicFramePr>
          <p:nvPr>
            <p:extLst>
              <p:ext uri="{D42A27DB-BD31-4B8C-83A1-F6EECF244321}">
                <p14:modId xmlns:p14="http://schemas.microsoft.com/office/powerpoint/2010/main" val="1391553151"/>
              </p:ext>
            </p:extLst>
          </p:nvPr>
        </p:nvGraphicFramePr>
        <p:xfrm>
          <a:off x="29598842" y="14907907"/>
          <a:ext cx="3209925" cy="680625"/>
        </p:xfrm>
        <a:graphic>
          <a:graphicData uri="http://schemas.openxmlformats.org/drawingml/2006/table">
            <a:tbl>
              <a:tblPr firstRow="1" firstCol="1" bandRow="1">
                <a:tableStyleId>{5C22544A-7EE6-4342-B048-85BDC9FD1C3A}</a:tableStyleId>
              </a:tblPr>
              <a:tblGrid>
                <a:gridCol w="1076325">
                  <a:extLst>
                    <a:ext uri="{9D8B030D-6E8A-4147-A177-3AD203B41FA5}">
                      <a16:colId xmlns:a16="http://schemas.microsoft.com/office/drawing/2014/main" val="1860262710"/>
                    </a:ext>
                  </a:extLst>
                </a:gridCol>
                <a:gridCol w="1104900">
                  <a:extLst>
                    <a:ext uri="{9D8B030D-6E8A-4147-A177-3AD203B41FA5}">
                      <a16:colId xmlns:a16="http://schemas.microsoft.com/office/drawing/2014/main" val="45932590"/>
                    </a:ext>
                  </a:extLst>
                </a:gridCol>
                <a:gridCol w="1028700">
                  <a:extLst>
                    <a:ext uri="{9D8B030D-6E8A-4147-A177-3AD203B41FA5}">
                      <a16:colId xmlns:a16="http://schemas.microsoft.com/office/drawing/2014/main" val="851900084"/>
                    </a:ext>
                  </a:extLst>
                </a:gridCol>
              </a:tblGrid>
              <a:tr h="223425">
                <a:tc>
                  <a:txBody>
                    <a:bodyPr/>
                    <a:lstStyle/>
                    <a:p>
                      <a:pPr algn="ctr" fontAlgn="base">
                        <a:lnSpc>
                          <a:spcPct val="107000"/>
                        </a:lnSpc>
                        <a:spcAft>
                          <a:spcPts val="800"/>
                        </a:spcAft>
                        <a:buNone/>
                      </a:pPr>
                      <a:r>
                        <a:rPr lang="en-US" sz="1000" b="1" kern="0" dirty="0">
                          <a:solidFill>
                            <a:srgbClr val="000000"/>
                          </a:solidFill>
                          <a:effectLst/>
                          <a:latin typeface="Franklin Gothic Book"/>
                          <a:ea typeface="Aptos" panose="020B0004020202020204" pitchFamily="34" charset="0"/>
                          <a:cs typeface="Times New Roman"/>
                        </a:rPr>
                        <a:t>Damage Part</a:t>
                      </a:r>
                      <a:endParaRPr lang="en-US" sz="1100" kern="100" dirty="0" err="1">
                        <a:effectLst/>
                        <a:latin typeface="Franklin Gothic Book"/>
                        <a:ea typeface="Aptos" panose="020B0004020202020204" pitchFamily="34" charset="0"/>
                        <a:cs typeface="Times New Roman"/>
                      </a:endParaRPr>
                    </a:p>
                  </a:txBody>
                  <a:tcPr marL="9525" marR="9525" marT="9525" marB="9525">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lvl="0" algn="ctr">
                        <a:lnSpc>
                          <a:spcPct val="107000"/>
                        </a:lnSpc>
                        <a:spcAft>
                          <a:spcPts val="800"/>
                        </a:spcAft>
                        <a:buNone/>
                      </a:pPr>
                      <a:r>
                        <a:rPr lang="en-US" sz="1000" b="1" kern="0" dirty="0" err="1">
                          <a:solidFill>
                            <a:srgbClr val="000000"/>
                          </a:solidFill>
                          <a:effectLst/>
                          <a:latin typeface="Franklin Gothic Book"/>
                          <a:ea typeface="Aptos" panose="020B0004020202020204" pitchFamily="34" charset="0"/>
                          <a:cs typeface="Times New Roman"/>
                        </a:rPr>
                        <a:t>Damge</a:t>
                      </a:r>
                      <a:r>
                        <a:rPr lang="en-US" sz="1000" b="1" kern="0" dirty="0">
                          <a:solidFill>
                            <a:srgbClr val="000000"/>
                          </a:solidFill>
                          <a:effectLst/>
                          <a:latin typeface="Franklin Gothic Book"/>
                          <a:ea typeface="Aptos" panose="020B0004020202020204" pitchFamily="34" charset="0"/>
                          <a:cs typeface="Times New Roman"/>
                        </a:rPr>
                        <a:t> Type</a:t>
                      </a:r>
                    </a:p>
                  </a:txBody>
                  <a:tcPr marL="9525" marR="9525" marT="9525" marB="9525">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b="1" kern="0" dirty="0">
                          <a:solidFill>
                            <a:srgbClr val="000000"/>
                          </a:solidFill>
                          <a:effectLst/>
                          <a:latin typeface="Franklin Gothic Book"/>
                          <a:ea typeface="Aptos" panose="020B0004020202020204" pitchFamily="34" charset="0"/>
                          <a:cs typeface="Times New Roman"/>
                        </a:rPr>
                        <a:t>Severity</a:t>
                      </a:r>
                      <a:endParaRPr lang="en-US" sz="1100" kern="100" dirty="0" err="1">
                        <a:effectLst/>
                        <a:latin typeface="Franklin Gothic Book"/>
                        <a:ea typeface="Aptos" panose="020B0004020202020204" pitchFamily="34" charset="0"/>
                        <a:cs typeface="Times New Roman"/>
                      </a:endParaRPr>
                    </a:p>
                  </a:txBody>
                  <a:tcPr marL="9525" marR="9525" marT="9525" marB="9525">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518042999"/>
                  </a:ext>
                </a:extLst>
              </a:tr>
              <a:tr h="228600">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Left</a:t>
                      </a:r>
                      <a:endParaRPr lang="en-US" sz="1000" kern="0" dirty="0">
                        <a:solidFill>
                          <a:srgbClr val="000000"/>
                        </a:solidFill>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Tires</a:t>
                      </a:r>
                      <a:endParaRPr lang="en-US" sz="1000" kern="0" dirty="0">
                        <a:solidFill>
                          <a:srgbClr val="000000"/>
                        </a:solidFill>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lvl="0" algn="ctr">
                        <a:lnSpc>
                          <a:spcPct val="107000"/>
                        </a:lnSpc>
                        <a:spcAft>
                          <a:spcPts val="800"/>
                        </a:spcAft>
                        <a:buNone/>
                      </a:pPr>
                      <a:r>
                        <a:rPr lang="en-US" sz="1000" kern="0">
                          <a:solidFill>
                            <a:srgbClr val="000000"/>
                          </a:solidFill>
                          <a:effectLst/>
                          <a:latin typeface="Franklin Gothic Book"/>
                          <a:cs typeface="Times New Roman"/>
                        </a:rPr>
                        <a:t>Low</a:t>
                      </a:r>
                      <a:endParaRPr lang="en-US"/>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186864960"/>
                  </a:ext>
                </a:extLst>
              </a:tr>
              <a:tr h="228600">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Rear</a:t>
                      </a:r>
                      <a:endParaRPr lang="en-US" sz="1000" kern="0" dirty="0">
                        <a:solidFill>
                          <a:srgbClr val="000000"/>
                        </a:solidFill>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Wheels</a:t>
                      </a:r>
                      <a:endParaRPr lang="en-US" sz="1000" kern="0" dirty="0">
                        <a:solidFill>
                          <a:srgbClr val="000000"/>
                        </a:solidFill>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tc>
                  <a:txBody>
                    <a:bodyPr/>
                    <a:lstStyle/>
                    <a:p>
                      <a:pPr algn="ctr" fontAlgn="base">
                        <a:lnSpc>
                          <a:spcPct val="107000"/>
                        </a:lnSpc>
                        <a:spcAft>
                          <a:spcPts val="800"/>
                        </a:spcAft>
                        <a:buNone/>
                      </a:pPr>
                      <a:r>
                        <a:rPr lang="en-US" sz="1000" kern="0">
                          <a:solidFill>
                            <a:srgbClr val="000000"/>
                          </a:solidFill>
                          <a:effectLst/>
                          <a:latin typeface="Franklin Gothic Book"/>
                          <a:ea typeface="Aptos" panose="020B0004020202020204" pitchFamily="34" charset="0"/>
                          <a:cs typeface="Times New Roman"/>
                        </a:rPr>
                        <a:t>High</a:t>
                      </a:r>
                      <a:endParaRPr lang="en-US" sz="1100" kern="100" dirty="0">
                        <a:effectLst/>
                        <a:latin typeface="Franklin Gothic Book"/>
                        <a:ea typeface="Aptos" panose="020B0004020202020204" pitchFamily="34" charset="0"/>
                        <a:cs typeface="Times New Roman"/>
                      </a:endParaRPr>
                    </a:p>
                  </a:txBody>
                  <a:tcPr marL="9525" marR="9525" marT="9525" marB="9525" anchor="ctr">
                    <a:lnL w="38100" cap="flat" cmpd="dbl" algn="ctr">
                      <a:solidFill>
                        <a:srgbClr val="000000"/>
                      </a:solidFill>
                      <a:prstDash val="solid"/>
                      <a:round/>
                      <a:headEnd type="none" w="med" len="med"/>
                      <a:tailEnd type="none" w="med" len="med"/>
                    </a:lnL>
                    <a:lnR w="38100" cap="flat" cmpd="dbl" algn="ctr">
                      <a:solidFill>
                        <a:srgbClr val="000000"/>
                      </a:solidFill>
                      <a:prstDash val="solid"/>
                      <a:round/>
                      <a:headEnd type="none" w="med" len="med"/>
                      <a:tailEnd type="none" w="med" len="med"/>
                    </a:lnR>
                    <a:lnT w="38100" cap="flat" cmpd="dbl" algn="ctr">
                      <a:solidFill>
                        <a:srgbClr val="000000"/>
                      </a:solidFill>
                      <a:prstDash val="solid"/>
                      <a:round/>
                      <a:headEnd type="none" w="med" len="med"/>
                      <a:tailEnd type="none" w="med" len="med"/>
                    </a:lnT>
                    <a:lnB w="381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1710574170"/>
                  </a:ext>
                </a:extLst>
              </a:tr>
            </a:tbl>
          </a:graphicData>
        </a:graphic>
      </p:graphicFrame>
      <p:sp>
        <p:nvSpPr>
          <p:cNvPr id="127" name="TextBox 126">
            <a:extLst>
              <a:ext uri="{FF2B5EF4-FFF2-40B4-BE49-F238E27FC236}">
                <a16:creationId xmlns:a16="http://schemas.microsoft.com/office/drawing/2014/main" id="{FE7B4270-3224-663B-B190-7CE82AB374E6}"/>
              </a:ext>
            </a:extLst>
          </p:cNvPr>
          <p:cNvSpPr txBox="1"/>
          <p:nvPr/>
        </p:nvSpPr>
        <p:spPr>
          <a:xfrm>
            <a:off x="33281927" y="12971192"/>
            <a:ext cx="1008162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800" dirty="0">
                <a:latin typeface="Times New Roman"/>
                <a:cs typeface="Segoe UI"/>
              </a:rPr>
              <a:t>Fig 7. </a:t>
            </a:r>
            <a:r>
              <a:rPr lang="en-US" sz="1800" dirty="0">
                <a:latin typeface="Times New Roman"/>
                <a:cs typeface="Arial"/>
              </a:rPr>
              <a:t>The timely and accurate attribution can result in </a:t>
            </a:r>
            <a:r>
              <a:rPr lang="en-US" sz="1800" b="1" dirty="0">
                <a:latin typeface="Times New Roman"/>
                <a:cs typeface="Arial"/>
              </a:rPr>
              <a:t>Annual </a:t>
            </a:r>
            <a:r>
              <a:rPr lang="en-US" sz="1800" dirty="0">
                <a:latin typeface="Times New Roman"/>
                <a:cs typeface="Arial"/>
              </a:rPr>
              <a:t>savings close to </a:t>
            </a:r>
            <a:r>
              <a:rPr lang="en-US" sz="1800" b="1" dirty="0">
                <a:latin typeface="Times New Roman"/>
                <a:cs typeface="Arial"/>
              </a:rPr>
              <a:t>USD 0.8 Million</a:t>
            </a:r>
            <a:endParaRPr lang="en-US" sz="1800">
              <a:latin typeface="Times New Roman"/>
              <a:cs typeface="Arial"/>
            </a:endParaRPr>
          </a:p>
        </p:txBody>
      </p:sp>
      <p:sp>
        <p:nvSpPr>
          <p:cNvPr id="50" name="Rectangle 49">
            <a:extLst>
              <a:ext uri="{FF2B5EF4-FFF2-40B4-BE49-F238E27FC236}">
                <a16:creationId xmlns:a16="http://schemas.microsoft.com/office/drawing/2014/main" id="{BAC9CA12-09CF-9DCF-28D3-F6E0885417D0}"/>
              </a:ext>
            </a:extLst>
          </p:cNvPr>
          <p:cNvSpPr/>
          <p:nvPr/>
        </p:nvSpPr>
        <p:spPr>
          <a:xfrm>
            <a:off x="14429367" y="20161612"/>
            <a:ext cx="3785216" cy="382271"/>
          </a:xfrm>
          <a:prstGeom prst="rect">
            <a:avLst/>
          </a:prstGeom>
        </p:spPr>
        <p:txBody>
          <a:bodyPr wrap="square" lIns="91440" tIns="45720" rIns="91440" bIns="45720" anchor="t">
            <a:spAutoFit/>
          </a:bodyPr>
          <a:lstStyle/>
          <a:p>
            <a:r>
              <a:rPr lang="en-US" sz="1800">
                <a:solidFill>
                  <a:schemeClr val="tx1">
                    <a:lumMod val="95000"/>
                    <a:lumOff val="5000"/>
                  </a:schemeClr>
                </a:solidFill>
                <a:latin typeface="Times New Roman"/>
                <a:cs typeface="Times New Roman"/>
              </a:rPr>
              <a:t>Table 1. Literature Summary</a:t>
            </a:r>
            <a:endParaRPr lang="en-US" dirty="0">
              <a:solidFill>
                <a:schemeClr val="tx1">
                  <a:lumMod val="95000"/>
                  <a:lumOff val="5000"/>
                </a:schemeClr>
              </a:solidFill>
              <a:latin typeface="Times New Roman"/>
              <a:cs typeface="Times New Roman"/>
            </a:endParaRPr>
          </a:p>
        </p:txBody>
      </p:sp>
      <p:sp>
        <p:nvSpPr>
          <p:cNvPr id="59" name="Rectangle 106">
            <a:extLst>
              <a:ext uri="{FF2B5EF4-FFF2-40B4-BE49-F238E27FC236}">
                <a16:creationId xmlns:a16="http://schemas.microsoft.com/office/drawing/2014/main" id="{82BA1D31-D667-97C6-E395-BA04F488ED0A}"/>
              </a:ext>
            </a:extLst>
          </p:cNvPr>
          <p:cNvSpPr>
            <a:spLocks noChangeArrowheads="1"/>
          </p:cNvSpPr>
          <p:nvPr/>
        </p:nvSpPr>
        <p:spPr bwMode="auto">
          <a:xfrm>
            <a:off x="8247401" y="8310475"/>
            <a:ext cx="7860379" cy="1010853"/>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endParaRPr lang="en-US" sz="1800" spc="10" dirty="0">
              <a:solidFill>
                <a:srgbClr val="FF0000"/>
              </a:solidFill>
              <a:latin typeface="Arial" panose="020B0604020202020204" pitchFamily="34" charset="0"/>
              <a:cs typeface="Arial" panose="020B0604020202020204" pitchFamily="34" charset="0"/>
            </a:endParaRPr>
          </a:p>
        </p:txBody>
      </p:sp>
      <p:sp>
        <p:nvSpPr>
          <p:cNvPr id="2" name="Rectangle 106">
            <a:extLst>
              <a:ext uri="{FF2B5EF4-FFF2-40B4-BE49-F238E27FC236}">
                <a16:creationId xmlns:a16="http://schemas.microsoft.com/office/drawing/2014/main" id="{88F2FE2B-1AC0-B312-A5E1-1825B6C48F64}"/>
              </a:ext>
            </a:extLst>
          </p:cNvPr>
          <p:cNvSpPr>
            <a:spLocks noChangeArrowheads="1"/>
          </p:cNvSpPr>
          <p:nvPr/>
        </p:nvSpPr>
        <p:spPr bwMode="auto">
          <a:xfrm>
            <a:off x="504807" y="15085539"/>
            <a:ext cx="7860379" cy="1010853"/>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endParaRPr lang="en-US" sz="1800" spc="10" dirty="0">
              <a:solidFill>
                <a:srgbClr val="000000"/>
              </a:solidFill>
              <a:latin typeface="Arial"/>
              <a:cs typeface="Arial"/>
            </a:endParaRPr>
          </a:p>
          <a:p>
            <a:pPr algn="just"/>
            <a:endParaRPr lang="en-US" sz="1800" spc="10" dirty="0">
              <a:solidFill>
                <a:srgbClr val="FF0000"/>
              </a:solidFill>
              <a:latin typeface="Arial" panose="020B0604020202020204" pitchFamily="34" charset="0"/>
              <a:cs typeface="Arial" panose="020B0604020202020204" pitchFamily="34" charset="0"/>
            </a:endParaRPr>
          </a:p>
        </p:txBody>
      </p:sp>
      <p:sp>
        <p:nvSpPr>
          <p:cNvPr id="76" name="Rectangle 75">
            <a:extLst>
              <a:ext uri="{FF2B5EF4-FFF2-40B4-BE49-F238E27FC236}">
                <a16:creationId xmlns:a16="http://schemas.microsoft.com/office/drawing/2014/main" id="{48CD5E2D-C4B8-BA81-84C4-DA4C91DBAAF9}"/>
              </a:ext>
            </a:extLst>
          </p:cNvPr>
          <p:cNvSpPr/>
          <p:nvPr/>
        </p:nvSpPr>
        <p:spPr>
          <a:xfrm>
            <a:off x="26128148" y="6738506"/>
            <a:ext cx="2814744" cy="369332"/>
          </a:xfrm>
          <a:prstGeom prst="rect">
            <a:avLst/>
          </a:prstGeom>
        </p:spPr>
        <p:txBody>
          <a:bodyPr wrap="square" lIns="91440" tIns="45720" rIns="91440" bIns="45720" anchor="t">
            <a:spAutoFit/>
          </a:bodyPr>
          <a:lstStyle/>
          <a:p>
            <a:pPr algn="ctr"/>
            <a:r>
              <a:rPr lang="en-US" sz="1800" dirty="0">
                <a:solidFill>
                  <a:schemeClr val="tx1">
                    <a:lumMod val="95000"/>
                    <a:lumOff val="5000"/>
                  </a:schemeClr>
                </a:solidFill>
                <a:latin typeface="Times New Roman"/>
                <a:cs typeface="Times"/>
              </a:rPr>
              <a:t>Fig 4. Toll Study Design</a:t>
            </a:r>
            <a:endParaRPr lang="en-US"/>
          </a:p>
        </p:txBody>
      </p:sp>
      <p:sp>
        <p:nvSpPr>
          <p:cNvPr id="103" name="Rectangle 102">
            <a:extLst>
              <a:ext uri="{FF2B5EF4-FFF2-40B4-BE49-F238E27FC236}">
                <a16:creationId xmlns:a16="http://schemas.microsoft.com/office/drawing/2014/main" id="{714B413B-18F0-E1B8-CE3F-373315363887}"/>
              </a:ext>
            </a:extLst>
          </p:cNvPr>
          <p:cNvSpPr/>
          <p:nvPr/>
        </p:nvSpPr>
        <p:spPr>
          <a:xfrm>
            <a:off x="26037570" y="16003276"/>
            <a:ext cx="3267631" cy="369332"/>
          </a:xfrm>
          <a:prstGeom prst="rect">
            <a:avLst/>
          </a:prstGeom>
        </p:spPr>
        <p:txBody>
          <a:bodyPr wrap="square" lIns="91440" tIns="45720" rIns="91440" bIns="45720" anchor="t">
            <a:spAutoFit/>
          </a:bodyPr>
          <a:lstStyle/>
          <a:p>
            <a:pPr algn="ctr"/>
            <a:r>
              <a:rPr lang="en-US" sz="1800" dirty="0">
                <a:solidFill>
                  <a:schemeClr val="tx1">
                    <a:lumMod val="95000"/>
                    <a:lumOff val="5000"/>
                  </a:schemeClr>
                </a:solidFill>
                <a:latin typeface="Times New Roman"/>
                <a:cs typeface="Times"/>
              </a:rPr>
              <a:t>Fig 5. Damage Study Design</a:t>
            </a:r>
            <a:endParaRPr lang="en-US"/>
          </a:p>
        </p:txBody>
      </p:sp>
      <p:sp>
        <p:nvSpPr>
          <p:cNvPr id="93" name="TextBox 92">
            <a:extLst>
              <a:ext uri="{FF2B5EF4-FFF2-40B4-BE49-F238E27FC236}">
                <a16:creationId xmlns:a16="http://schemas.microsoft.com/office/drawing/2014/main" id="{0A6C5382-6321-4B46-5C49-6CFFA28977A1}"/>
              </a:ext>
            </a:extLst>
          </p:cNvPr>
          <p:cNvSpPr txBox="1"/>
          <p:nvPr/>
        </p:nvSpPr>
        <p:spPr>
          <a:xfrm>
            <a:off x="33611699" y="13570498"/>
            <a:ext cx="9419366"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000" dirty="0">
                <a:latin typeface="Times New Roman"/>
                <a:cs typeface="Arial"/>
              </a:rPr>
              <a:t>By implementing automated cost attribution, the company stands to gain substantial financial and operational benefits. The solution not only enhances transparency but also drives cost efficiency, ultimately leading to better resource management and increased profitability.</a:t>
            </a:r>
            <a:endParaRPr lang="en-US"/>
          </a:p>
        </p:txBody>
      </p:sp>
      <p:pic>
        <p:nvPicPr>
          <p:cNvPr id="125" name="Picture 124" descr="A graph with numbers and lines&#10;&#10;AI-generated content may be incorrect.">
            <a:extLst>
              <a:ext uri="{FF2B5EF4-FFF2-40B4-BE49-F238E27FC236}">
                <a16:creationId xmlns:a16="http://schemas.microsoft.com/office/drawing/2014/main" id="{4C3E4435-5298-229F-59B5-6940E4928EA1}"/>
              </a:ext>
            </a:extLst>
          </p:cNvPr>
          <p:cNvPicPr>
            <a:picLocks noChangeAspect="1"/>
          </p:cNvPicPr>
          <p:nvPr/>
        </p:nvPicPr>
        <p:blipFill>
          <a:blip r:embed="rId20"/>
          <a:srcRect l="3196" t="6862" r="-205" b="4257"/>
          <a:stretch/>
        </p:blipFill>
        <p:spPr>
          <a:xfrm>
            <a:off x="34147432" y="8856157"/>
            <a:ext cx="9004882" cy="4053601"/>
          </a:xfrm>
          <a:prstGeom prst="rect">
            <a:avLst/>
          </a:prstGeom>
        </p:spPr>
      </p:pic>
      <p:pic>
        <p:nvPicPr>
          <p:cNvPr id="128" name="Picture 127" descr="A logo with a green arrow&#10;&#10;AI-generated content may be incorrect.">
            <a:extLst>
              <a:ext uri="{FF2B5EF4-FFF2-40B4-BE49-F238E27FC236}">
                <a16:creationId xmlns:a16="http://schemas.microsoft.com/office/drawing/2014/main" id="{AC948E2B-A3B9-4653-E89C-79DA1082D059}"/>
              </a:ext>
            </a:extLst>
          </p:cNvPr>
          <p:cNvPicPr>
            <a:picLocks noChangeAspect="1"/>
          </p:cNvPicPr>
          <p:nvPr/>
        </p:nvPicPr>
        <p:blipFill>
          <a:blip r:embed="rId21"/>
          <a:stretch>
            <a:fillRect/>
          </a:stretch>
        </p:blipFill>
        <p:spPr>
          <a:xfrm>
            <a:off x="29573763" y="-760095"/>
            <a:ext cx="5608318" cy="4263389"/>
          </a:xfrm>
          <a:prstGeom prst="rect">
            <a:avLst/>
          </a:prstGeom>
        </p:spPr>
      </p:pic>
      <p:sp>
        <p:nvSpPr>
          <p:cNvPr id="144" name="Parallelogram 143">
            <a:extLst>
              <a:ext uri="{FF2B5EF4-FFF2-40B4-BE49-F238E27FC236}">
                <a16:creationId xmlns:a16="http://schemas.microsoft.com/office/drawing/2014/main" id="{7A944E77-0F91-A2B8-D59F-8AACC1B5F480}"/>
              </a:ext>
            </a:extLst>
          </p:cNvPr>
          <p:cNvSpPr/>
          <p:nvPr/>
        </p:nvSpPr>
        <p:spPr bwMode="auto">
          <a:xfrm>
            <a:off x="11746777" y="1202972"/>
            <a:ext cx="16992440" cy="1373505"/>
          </a:xfrm>
          <a:prstGeom prst="parallelogram">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spcBef>
                <a:spcPct val="20000"/>
              </a:spcBef>
            </a:pPr>
            <a:r>
              <a:rPr lang="en-US" sz="2000" dirty="0">
                <a:solidFill>
                  <a:schemeClr val="bg1"/>
                </a:solidFill>
                <a:latin typeface="Times New Roman"/>
                <a:cs typeface="Times New Roman"/>
              </a:rPr>
              <a:t>Ananth Mohan, Farha Shireen, Hsueh-Ning Chao, Shih Min Lin, Tanvir Ahmed Farook, Yao Liu, Yijun Wang </a:t>
            </a:r>
            <a:br>
              <a:rPr lang="en-US" sz="2000" dirty="0">
                <a:latin typeface="Times New Roman"/>
                <a:cs typeface="Times New Roman"/>
              </a:rPr>
            </a:br>
            <a:r>
              <a:rPr lang="en-US" sz="2000" dirty="0">
                <a:solidFill>
                  <a:schemeClr val="bg1"/>
                </a:solidFill>
                <a:latin typeface="Times New Roman"/>
                <a:cs typeface="Times New Roman"/>
              </a:rPr>
              <a:t>Under the guidance of Dr. Shoaib Khan </a:t>
            </a:r>
            <a:endParaRPr lang="en-IN" sz="2000">
              <a:solidFill>
                <a:schemeClr val="bg1"/>
              </a:solidFill>
              <a:latin typeface="Times New Roman"/>
              <a:cs typeface="Times New Roman"/>
            </a:endParaRPr>
          </a:p>
          <a:p>
            <a:pPr algn="ctr">
              <a:spcBef>
                <a:spcPct val="20000"/>
              </a:spcBef>
            </a:pPr>
            <a:r>
              <a:rPr lang="en-IN" sz="2400" b="1" dirty="0">
                <a:solidFill>
                  <a:schemeClr val="bg1"/>
                </a:solidFill>
                <a:latin typeface="Times New Roman"/>
                <a:cs typeface="Times New Roman"/>
              </a:rPr>
              <a:t>Purdue University, Daniels School of Business</a:t>
            </a:r>
            <a:endParaRPr lang="en-GB" sz="2400" dirty="0">
              <a:solidFill>
                <a:schemeClr val="bg1"/>
              </a:solidFill>
              <a:latin typeface="Times New Roman"/>
              <a:cs typeface="Times New Roman"/>
            </a:endParaRPr>
          </a:p>
          <a:p>
            <a:pPr algn="ctr">
              <a:spcBef>
                <a:spcPct val="20000"/>
              </a:spcBef>
            </a:pPr>
            <a:endParaRPr lang="en-US" sz="1200" dirty="0">
              <a:solidFill>
                <a:schemeClr val="bg1"/>
              </a:solidFill>
              <a:latin typeface="Times New Roman"/>
              <a:cs typeface="Times New Roman"/>
            </a:endParaRPr>
          </a:p>
        </p:txBody>
      </p:sp>
      <p:pic>
        <p:nvPicPr>
          <p:cNvPr id="96" name="Picture 95" descr="A person smiling at the camera&#10;&#10;AI-generated content may be incorrect.">
            <a:extLst>
              <a:ext uri="{FF2B5EF4-FFF2-40B4-BE49-F238E27FC236}">
                <a16:creationId xmlns:a16="http://schemas.microsoft.com/office/drawing/2014/main" id="{8A1E435C-3168-AB10-5837-83EECFA6D9F8}"/>
              </a:ext>
            </a:extLst>
          </p:cNvPr>
          <p:cNvPicPr>
            <a:picLocks noChangeAspect="1"/>
          </p:cNvPicPr>
          <p:nvPr/>
        </p:nvPicPr>
        <p:blipFill>
          <a:blip r:embed="rId22"/>
          <a:stretch>
            <a:fillRect/>
          </a:stretch>
        </p:blipFill>
        <p:spPr>
          <a:xfrm>
            <a:off x="1922562" y="1111672"/>
            <a:ext cx="1600201" cy="1611630"/>
          </a:xfrm>
          <a:prstGeom prst="flowChartConnector">
            <a:avLst/>
          </a:prstGeom>
        </p:spPr>
      </p:pic>
      <p:pic>
        <p:nvPicPr>
          <p:cNvPr id="104" name="Picture 103" descr="A person in a suit&#10;&#10;AI-generated content may be incorrect.">
            <a:extLst>
              <a:ext uri="{FF2B5EF4-FFF2-40B4-BE49-F238E27FC236}">
                <a16:creationId xmlns:a16="http://schemas.microsoft.com/office/drawing/2014/main" id="{FC64191F-787D-F12F-E95D-E6A87AAFD11E}"/>
              </a:ext>
            </a:extLst>
          </p:cNvPr>
          <p:cNvPicPr>
            <a:picLocks noChangeAspect="1"/>
          </p:cNvPicPr>
          <p:nvPr/>
        </p:nvPicPr>
        <p:blipFill>
          <a:blip r:embed="rId23"/>
          <a:stretch>
            <a:fillRect/>
          </a:stretch>
        </p:blipFill>
        <p:spPr>
          <a:xfrm>
            <a:off x="12719013" y="1111672"/>
            <a:ext cx="1600201" cy="1611630"/>
          </a:xfrm>
          <a:prstGeom prst="flowChartConnector">
            <a:avLst/>
          </a:prstGeom>
        </p:spPr>
      </p:pic>
      <p:pic>
        <p:nvPicPr>
          <p:cNvPr id="141" name="Picture 140" descr="A person wearing glasses and smiling&#10;&#10;AI-generated content may be incorrect.">
            <a:extLst>
              <a:ext uri="{FF2B5EF4-FFF2-40B4-BE49-F238E27FC236}">
                <a16:creationId xmlns:a16="http://schemas.microsoft.com/office/drawing/2014/main" id="{79FB5AEB-3DAD-1FFE-EEE8-34DE8B2D4409}"/>
              </a:ext>
            </a:extLst>
          </p:cNvPr>
          <p:cNvPicPr>
            <a:picLocks noChangeAspect="1"/>
          </p:cNvPicPr>
          <p:nvPr/>
        </p:nvPicPr>
        <p:blipFill>
          <a:blip r:embed="rId24"/>
          <a:stretch>
            <a:fillRect/>
          </a:stretch>
        </p:blipFill>
        <p:spPr>
          <a:xfrm>
            <a:off x="9143056" y="1111672"/>
            <a:ext cx="1600201" cy="1611630"/>
          </a:xfrm>
          <a:prstGeom prst="flowChartConnector">
            <a:avLst/>
          </a:prstGeom>
        </p:spPr>
      </p:pic>
      <p:pic>
        <p:nvPicPr>
          <p:cNvPr id="143" name="Picture 142" descr="A person with short dark hair wearing a grey suit&#10;&#10;AI-generated content may be incorrect.">
            <a:extLst>
              <a:ext uri="{FF2B5EF4-FFF2-40B4-BE49-F238E27FC236}">
                <a16:creationId xmlns:a16="http://schemas.microsoft.com/office/drawing/2014/main" id="{AEF9494A-AD3C-E933-30A9-D6F8742DB88D}"/>
              </a:ext>
            </a:extLst>
          </p:cNvPr>
          <p:cNvPicPr>
            <a:picLocks noChangeAspect="1"/>
          </p:cNvPicPr>
          <p:nvPr/>
        </p:nvPicPr>
        <p:blipFill>
          <a:blip r:embed="rId25"/>
          <a:stretch>
            <a:fillRect/>
          </a:stretch>
        </p:blipFill>
        <p:spPr>
          <a:xfrm>
            <a:off x="5498519" y="1111672"/>
            <a:ext cx="1600201" cy="1611630"/>
          </a:xfrm>
          <a:prstGeom prst="flowChartConnector">
            <a:avLst/>
          </a:prstGeom>
        </p:spPr>
      </p:pic>
      <p:pic>
        <p:nvPicPr>
          <p:cNvPr id="145" name="Picture 144" descr="A person smiling for a picture&#10;&#10;AI-generated content may be incorrect.">
            <a:extLst>
              <a:ext uri="{FF2B5EF4-FFF2-40B4-BE49-F238E27FC236}">
                <a16:creationId xmlns:a16="http://schemas.microsoft.com/office/drawing/2014/main" id="{0F46F35B-A7FD-2D13-1A05-D60E19736906}"/>
              </a:ext>
            </a:extLst>
          </p:cNvPr>
          <p:cNvPicPr>
            <a:picLocks noChangeAspect="1"/>
          </p:cNvPicPr>
          <p:nvPr/>
        </p:nvPicPr>
        <p:blipFill>
          <a:blip r:embed="rId26"/>
          <a:stretch>
            <a:fillRect/>
          </a:stretch>
        </p:blipFill>
        <p:spPr>
          <a:xfrm>
            <a:off x="100293" y="1111672"/>
            <a:ext cx="1600201" cy="1611630"/>
          </a:xfrm>
          <a:prstGeom prst="flowChartConnector">
            <a:avLst/>
          </a:prstGeom>
        </p:spPr>
      </p:pic>
      <p:pic>
        <p:nvPicPr>
          <p:cNvPr id="146" name="Picture 145" descr="A person wearing glasses and a white shirt&#10;&#10;AI-generated content may be incorrect.">
            <a:extLst>
              <a:ext uri="{FF2B5EF4-FFF2-40B4-BE49-F238E27FC236}">
                <a16:creationId xmlns:a16="http://schemas.microsoft.com/office/drawing/2014/main" id="{42F02FF9-5933-F2E5-3055-58B04F0127B2}"/>
              </a:ext>
            </a:extLst>
          </p:cNvPr>
          <p:cNvPicPr>
            <a:picLocks noChangeAspect="1"/>
          </p:cNvPicPr>
          <p:nvPr/>
        </p:nvPicPr>
        <p:blipFill>
          <a:blip r:embed="rId27"/>
          <a:stretch>
            <a:fillRect/>
          </a:stretch>
        </p:blipFill>
        <p:spPr>
          <a:xfrm>
            <a:off x="7320787" y="1111672"/>
            <a:ext cx="1600201" cy="1611630"/>
          </a:xfrm>
          <a:prstGeom prst="flowChartConnector">
            <a:avLst/>
          </a:prstGeom>
        </p:spPr>
      </p:pic>
      <p:pic>
        <p:nvPicPr>
          <p:cNvPr id="85" name="Picture 84" descr="Profile photo of Yijun Wang">
            <a:extLst>
              <a:ext uri="{FF2B5EF4-FFF2-40B4-BE49-F238E27FC236}">
                <a16:creationId xmlns:a16="http://schemas.microsoft.com/office/drawing/2014/main" id="{009ABF52-6B39-FE8A-90E5-ED0C27EF6EDE}"/>
              </a:ext>
            </a:extLst>
          </p:cNvPr>
          <p:cNvPicPr>
            <a:picLocks noChangeAspect="1"/>
          </p:cNvPicPr>
          <p:nvPr/>
        </p:nvPicPr>
        <p:blipFill>
          <a:blip r:embed="rId28"/>
          <a:stretch>
            <a:fillRect/>
          </a:stretch>
        </p:blipFill>
        <p:spPr>
          <a:xfrm>
            <a:off x="10931034" y="1111672"/>
            <a:ext cx="1588704" cy="1603635"/>
          </a:xfrm>
          <a:prstGeom prst="flowChartConnector">
            <a:avLst/>
          </a:prstGeom>
        </p:spPr>
      </p:pic>
      <p:pic>
        <p:nvPicPr>
          <p:cNvPr id="113" name="Picture 112" descr="Profile photo of Hsueh-Ning Chao">
            <a:extLst>
              <a:ext uri="{FF2B5EF4-FFF2-40B4-BE49-F238E27FC236}">
                <a16:creationId xmlns:a16="http://schemas.microsoft.com/office/drawing/2014/main" id="{D7E98399-819B-8F1B-DC68-F5F6E9C0C9E3}"/>
              </a:ext>
            </a:extLst>
          </p:cNvPr>
          <p:cNvPicPr>
            <a:picLocks noChangeAspect="1"/>
          </p:cNvPicPr>
          <p:nvPr/>
        </p:nvPicPr>
        <p:blipFill>
          <a:blip r:embed="rId29"/>
          <a:stretch>
            <a:fillRect/>
          </a:stretch>
        </p:blipFill>
        <p:spPr>
          <a:xfrm>
            <a:off x="3710540" y="1128817"/>
            <a:ext cx="1600200" cy="1609725"/>
          </a:xfrm>
          <a:prstGeom prst="rect">
            <a:avLst/>
          </a:prstGeom>
        </p:spPr>
      </p:pic>
      <p:sp>
        <p:nvSpPr>
          <p:cNvPr id="7" name="TextBox 6">
            <a:extLst>
              <a:ext uri="{FF2B5EF4-FFF2-40B4-BE49-F238E27FC236}">
                <a16:creationId xmlns:a16="http://schemas.microsoft.com/office/drawing/2014/main" id="{E7B59637-C03A-31BF-46F0-7D4762DDF8CA}"/>
              </a:ext>
            </a:extLst>
          </p:cNvPr>
          <p:cNvSpPr txBox="1"/>
          <p:nvPr/>
        </p:nvSpPr>
        <p:spPr>
          <a:xfrm>
            <a:off x="33611699" y="17428623"/>
            <a:ext cx="9427013" cy="18774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000">
                <a:latin typeface="Times New Roman"/>
                <a:cs typeface="Times New Roman"/>
              </a:rPr>
              <a:t>Considering the industry's payment cycle, timely and accurate attribution is critical. The automation of toll and damage identification ensures faster invoicing of carriers and accelerates insurance claims and settlement processes. Ultimately, this enhances cash flow management, improves operational efficiency, and strengthens compliance with industry standards.</a:t>
            </a:r>
          </a:p>
          <a:p>
            <a:pPr algn="l"/>
            <a:endParaRPr lang="en-US" dirty="0">
              <a:cs typeface="Times"/>
            </a:endParaRPr>
          </a:p>
        </p:txBody>
      </p:sp>
      <p:pic>
        <p:nvPicPr>
          <p:cNvPr id="41" name="Picture 40" descr="A qr code with black squares&#10;&#10;AI-generated content may be incorrect.">
            <a:extLst>
              <a:ext uri="{FF2B5EF4-FFF2-40B4-BE49-F238E27FC236}">
                <a16:creationId xmlns:a16="http://schemas.microsoft.com/office/drawing/2014/main" id="{F4FCF19C-9BFE-E50C-9D25-A28E4C766039}"/>
              </a:ext>
            </a:extLst>
          </p:cNvPr>
          <p:cNvPicPr>
            <a:picLocks noChangeAspect="1"/>
          </p:cNvPicPr>
          <p:nvPr/>
        </p:nvPicPr>
        <p:blipFill>
          <a:blip r:embed="rId30"/>
          <a:stretch>
            <a:fillRect/>
          </a:stretch>
        </p:blipFill>
        <p:spPr>
          <a:xfrm>
            <a:off x="27172847" y="1164205"/>
            <a:ext cx="1437020" cy="1398202"/>
          </a:xfrm>
          <a:prstGeom prst="rect">
            <a:avLst/>
          </a:prstGeom>
        </p:spPr>
      </p:pic>
      <p:cxnSp>
        <p:nvCxnSpPr>
          <p:cNvPr id="136" name="Straight Arrow Connector 135">
            <a:extLst>
              <a:ext uri="{FF2B5EF4-FFF2-40B4-BE49-F238E27FC236}">
                <a16:creationId xmlns:a16="http://schemas.microsoft.com/office/drawing/2014/main" id="{A832AC5D-0E8D-C299-7586-AF812AB9A5B9}"/>
              </a:ext>
            </a:extLst>
          </p:cNvPr>
          <p:cNvCxnSpPr>
            <a:cxnSpLocks/>
          </p:cNvCxnSpPr>
          <p:nvPr/>
        </p:nvCxnSpPr>
        <p:spPr>
          <a:xfrm>
            <a:off x="31446931" y="5607654"/>
            <a:ext cx="3212" cy="50228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0637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2.xml><?xml version="1.0" encoding="utf-8"?>
<ds:datastoreItem xmlns:ds="http://schemas.openxmlformats.org/officeDocument/2006/customXml" ds:itemID="{BBE5E52D-EB9D-4B72-A928-24760AE9C86A}">
  <ds:schemaRefs>
    <ds:schemaRef ds:uri="http://purl.org/dc/dcmitype/"/>
    <ds:schemaRef ds:uri="http://purl.org/dc/elements/1.1/"/>
    <ds:schemaRef ds:uri="http://www.w3.org/XML/1998/namespace"/>
    <ds:schemaRef ds:uri="http://purl.org/dc/terms/"/>
    <ds:schemaRef ds:uri="http://schemas.microsoft.com/office/2006/metadata/properties"/>
    <ds:schemaRef ds:uri="b60307e8-227d-4226-bf3f-3f3e3f614599"/>
    <ds:schemaRef ds:uri="http://schemas.microsoft.com/office/2006/documentManagement/types"/>
    <ds:schemaRef ds:uri="http://schemas.microsoft.com/office/infopath/2007/PartnerControls"/>
    <ds:schemaRef ds:uri="http://schemas.openxmlformats.org/package/2006/metadata/core-properties"/>
    <ds:schemaRef ds:uri="b1755f8e-5024-43d4-9f4e-f0720ef5cbea"/>
  </ds:schemaRefs>
</ds:datastoreItem>
</file>

<file path=customXml/itemProps3.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3051</TotalTime>
  <Words>4590</Words>
  <Application>Microsoft Office PowerPoint</Application>
  <PresentationFormat>Custom</PresentationFormat>
  <Paragraphs>673</Paragraphs>
  <Slides>2</Slides>
  <Notes>0</Notes>
  <HiddenSlides>0</HiddenSlides>
  <MMClips>0</MMClips>
  <ScaleCrop>false</ScaleCrop>
  <HeadingPairs>
    <vt:vector size="4" baseType="variant">
      <vt:variant>
        <vt:lpstr>Theme</vt:lpstr>
      </vt:variant>
      <vt:variant>
        <vt:i4>1</vt:i4>
      </vt:variant>
      <vt:variant>
        <vt:lpstr>Slide Titles</vt:lpstr>
      </vt:variant>
      <vt:variant>
        <vt:i4>2</vt:i4>
      </vt:variant>
    </vt:vector>
  </HeadingPairs>
  <TitlesOfParts>
    <vt:vector size="3" baseType="lpstr">
      <vt:lpstr>INFORMS2015_Comp_Conf</vt:lpstr>
      <vt:lpstr>PowerPoint Presentation</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Lanham, Matthew A</cp:lastModifiedBy>
  <cp:revision>1140</cp:revision>
  <cp:lastPrinted>2001-08-01T02:48:55Z</cp:lastPrinted>
  <dcterms:created xsi:type="dcterms:W3CDTF">2014-12-02T19:25:45Z</dcterms:created>
  <dcterms:modified xsi:type="dcterms:W3CDTF">2025-04-11T01:1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